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3" r:id="rId1"/>
    <p:sldMasterId id="2147483830" r:id="rId2"/>
  </p:sldMasterIdLst>
  <p:notesMasterIdLst>
    <p:notesMasterId r:id="rId29"/>
  </p:notesMasterIdLst>
  <p:handoutMasterIdLst>
    <p:handoutMasterId r:id="rId30"/>
  </p:handoutMasterIdLst>
  <p:sldIdLst>
    <p:sldId id="307" r:id="rId3"/>
    <p:sldId id="404" r:id="rId4"/>
    <p:sldId id="358" r:id="rId5"/>
    <p:sldId id="424" r:id="rId6"/>
    <p:sldId id="374" r:id="rId7"/>
    <p:sldId id="375" r:id="rId8"/>
    <p:sldId id="403" r:id="rId9"/>
    <p:sldId id="406" r:id="rId10"/>
    <p:sldId id="405" r:id="rId11"/>
    <p:sldId id="411" r:id="rId12"/>
    <p:sldId id="409" r:id="rId13"/>
    <p:sldId id="407" r:id="rId14"/>
    <p:sldId id="413" r:id="rId15"/>
    <p:sldId id="408" r:id="rId16"/>
    <p:sldId id="412" r:id="rId17"/>
    <p:sldId id="414" r:id="rId18"/>
    <p:sldId id="415" r:id="rId19"/>
    <p:sldId id="416" r:id="rId20"/>
    <p:sldId id="417" r:id="rId21"/>
    <p:sldId id="418" r:id="rId22"/>
    <p:sldId id="420" r:id="rId23"/>
    <p:sldId id="419" r:id="rId24"/>
    <p:sldId id="421" r:id="rId25"/>
    <p:sldId id="423" r:id="rId26"/>
    <p:sldId id="422" r:id="rId27"/>
    <p:sldId id="315" r:id="rId28"/>
  </p:sldIdLst>
  <p:sldSz cx="9144000" cy="6858000" type="screen4x3"/>
  <p:notesSz cx="6742113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  <p15:guide id="3" orient="horz" pos="3110">
          <p15:clr>
            <a:srgbClr val="A4A3A4"/>
          </p15:clr>
        </p15:guide>
        <p15:guide id="4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1452"/>
    <a:srgbClr val="F7EAFA"/>
    <a:srgbClr val="702082"/>
    <a:srgbClr val="00A0D2"/>
    <a:srgbClr val="E5E7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31" autoAdjust="0"/>
    <p:restoredTop sz="42809" autoAdjust="0"/>
  </p:normalViewPr>
  <p:slideViewPr>
    <p:cSldViewPr>
      <p:cViewPr varScale="1">
        <p:scale>
          <a:sx n="67" d="100"/>
          <a:sy n="67" d="100"/>
        </p:scale>
        <p:origin x="1284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2886" y="-90"/>
      </p:cViewPr>
      <p:guideLst>
        <p:guide orient="horz" pos="3132"/>
        <p:guide pos="2144"/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122623050323755E-2"/>
          <c:y val="0.15038038330933479"/>
          <c:w val="0.91812679068641301"/>
          <c:h val="0.71644695808853542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exe!$AL$96</c:f>
              <c:strCache>
                <c:ptCount val="1"/>
                <c:pt idx="0">
                  <c:v>Effectifs Femmes</c:v>
                </c:pt>
              </c:strCache>
            </c:strRef>
          </c:tx>
          <c:spPr>
            <a:gradFill>
              <a:gsLst>
                <a:gs pos="77855">
                  <a:srgbClr val="932AAC"/>
                </a:gs>
                <a:gs pos="0">
                  <a:schemeClr val="accent1">
                    <a:lumMod val="60000"/>
                    <a:lumOff val="40000"/>
                  </a:schemeClr>
                </a:gs>
                <a:gs pos="11520">
                  <a:srgbClr val="932AAC"/>
                </a:gs>
                <a:gs pos="32000">
                  <a:schemeClr val="accent1"/>
                </a:gs>
                <a:gs pos="57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1594000" scaled="0"/>
            </a:gradFill>
            <a:ln>
              <a:tailEnd type="stealth" w="med" len="lg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 i="1">
                    <a:solidFill>
                      <a:schemeClr val="bg1"/>
                    </a:solidFill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(Sexe!$AQ$96,Sexe!$AQ$98,Sexe!$AQ$100,Sexe!$AQ$102)</c:f>
              <c:numCache>
                <c:formatCode>#,##0</c:formatCode>
                <c:ptCount val="4"/>
                <c:pt idx="0">
                  <c:v>430.42465752799967</c:v>
                </c:pt>
                <c:pt idx="1">
                  <c:v>547.68219177500009</c:v>
                </c:pt>
                <c:pt idx="2">
                  <c:v>285.17808219599988</c:v>
                </c:pt>
                <c:pt idx="3">
                  <c:v>137.019178082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64-49F3-BE9F-5AA3D2699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5718528"/>
        <c:axId val="129625088"/>
      </c:barChart>
      <c:lineChart>
        <c:grouping val="standard"/>
        <c:varyColors val="0"/>
        <c:ser>
          <c:idx val="1"/>
          <c:order val="0"/>
          <c:tx>
            <c:strRef>
              <c:f>Sexe!$AJ$79</c:f>
              <c:strCache>
                <c:ptCount val="1"/>
                <c:pt idx="0">
                  <c:v>Taux d'absenteisme Femme</c:v>
                </c:pt>
              </c:strCache>
            </c:strRef>
          </c:tx>
          <c:spPr>
            <a:ln>
              <a:solidFill>
                <a:schemeClr val="accent4"/>
              </a:solidFill>
              <a:tailEnd type="none" w="med" len="lg"/>
            </a:ln>
          </c:spPr>
          <c:marker>
            <c:symbol val="none"/>
          </c:marker>
          <c:cat>
            <c:strRef>
              <c:f>(Sexe!$AK$79,Sexe!$AK$83,Sexe!$AK$87,Sexe!$AK$91)</c:f>
              <c:strCache>
                <c:ptCount val="4"/>
                <c:pt idx="0">
                  <c:v>- de 30 ans</c:v>
                </c:pt>
                <c:pt idx="1">
                  <c:v>30 à 39 ans</c:v>
                </c:pt>
                <c:pt idx="2">
                  <c:v>40 à 49 ans</c:v>
                </c:pt>
                <c:pt idx="3">
                  <c:v>50 ans et +</c:v>
                </c:pt>
              </c:strCache>
            </c:strRef>
          </c:cat>
          <c:val>
            <c:numRef>
              <c:f>(Sexe!$AQ$79,Sexe!$AQ$83,Sexe!$AQ$87,Sexe!$AQ$91)</c:f>
              <c:numCache>
                <c:formatCode>0.0%</c:formatCode>
                <c:ptCount val="4"/>
                <c:pt idx="0">
                  <c:v>2.137424015816642E-2</c:v>
                </c:pt>
                <c:pt idx="1">
                  <c:v>4.6687409957275536E-2</c:v>
                </c:pt>
                <c:pt idx="2">
                  <c:v>5.0293015658781352E-2</c:v>
                </c:pt>
                <c:pt idx="3">
                  <c:v>3.3571942733545891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D864-49F3-BE9F-5AA3D2699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622016"/>
        <c:axId val="129623552"/>
      </c:lineChart>
      <c:catAx>
        <c:axId val="129622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29623552"/>
        <c:crosses val="autoZero"/>
        <c:auto val="1"/>
        <c:lblAlgn val="ctr"/>
        <c:lblOffset val="100"/>
        <c:noMultiLvlLbl val="0"/>
      </c:catAx>
      <c:valAx>
        <c:axId val="12962355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50000"/>
                </a:schemeClr>
              </a:solidFill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crossAx val="129622016"/>
        <c:crosses val="autoZero"/>
        <c:crossBetween val="between"/>
      </c:valAx>
      <c:valAx>
        <c:axId val="129625088"/>
        <c:scaling>
          <c:orientation val="minMax"/>
        </c:scaling>
        <c:delete val="0"/>
        <c:axPos val="r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105718528"/>
        <c:crosses val="max"/>
        <c:crossBetween val="between"/>
      </c:valAx>
      <c:catAx>
        <c:axId val="105718528"/>
        <c:scaling>
          <c:orientation val="minMax"/>
        </c:scaling>
        <c:delete val="1"/>
        <c:axPos val="b"/>
        <c:majorTickMark val="out"/>
        <c:minorTickMark val="none"/>
        <c:tickLblPos val="nextTo"/>
        <c:crossAx val="129625088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7.8598108454817919E-2"/>
          <c:y val="0"/>
          <c:w val="0.88694468304249996"/>
          <c:h val="0.11622497322306943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050"/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122623050323755E-2"/>
          <c:y val="0.12545498653761405"/>
          <c:w val="0.91812679068641301"/>
          <c:h val="0.72464812089965303"/>
        </c:manualLayout>
      </c:layout>
      <c:barChart>
        <c:barDir val="col"/>
        <c:grouping val="clustered"/>
        <c:varyColors val="0"/>
        <c:ser>
          <c:idx val="3"/>
          <c:order val="1"/>
          <c:tx>
            <c:strRef>
              <c:f>Sexe!$AL$97</c:f>
              <c:strCache>
                <c:ptCount val="1"/>
                <c:pt idx="0">
                  <c:v>Effectifs Hommes</c:v>
                </c:pt>
              </c:strCache>
            </c:strRef>
          </c:tx>
          <c:spPr>
            <a:gradFill>
              <a:gsLst>
                <a:gs pos="77855">
                  <a:schemeClr val="accent2"/>
                </a:gs>
                <a:gs pos="0">
                  <a:schemeClr val="accent2">
                    <a:lumMod val="60000"/>
                    <a:lumOff val="40000"/>
                  </a:schemeClr>
                </a:gs>
                <a:gs pos="11520">
                  <a:schemeClr val="accent2"/>
                </a:gs>
                <a:gs pos="32000">
                  <a:schemeClr val="accent2"/>
                </a:gs>
                <a:gs pos="5700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1594000" scaled="0"/>
            </a:gradFill>
            <a:ln>
              <a:tailEnd type="stealth" w="med" len="lg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 i="1">
                    <a:solidFill>
                      <a:schemeClr val="accent1">
                        <a:lumMod val="75000"/>
                      </a:schemeClr>
                    </a:solidFill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(Sexe!$AQ$97,Sexe!$AQ$99,Sexe!$AQ$101,Sexe!$AQ$103)</c:f>
              <c:numCache>
                <c:formatCode>#,##0</c:formatCode>
                <c:ptCount val="4"/>
                <c:pt idx="0">
                  <c:v>1240.9315068969995</c:v>
                </c:pt>
                <c:pt idx="1">
                  <c:v>1820.5068493440001</c:v>
                </c:pt>
                <c:pt idx="2">
                  <c:v>957.40821919500013</c:v>
                </c:pt>
                <c:pt idx="3">
                  <c:v>769.087671245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4-4598-B8E5-57C62D7F2D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5783296"/>
        <c:axId val="105773312"/>
      </c:barChart>
      <c:lineChart>
        <c:grouping val="standard"/>
        <c:varyColors val="0"/>
        <c:ser>
          <c:idx val="0"/>
          <c:order val="0"/>
          <c:tx>
            <c:strRef>
              <c:f>Sexe!$AJ$57</c:f>
              <c:strCache>
                <c:ptCount val="1"/>
                <c:pt idx="0">
                  <c:v>Taux d'absenteisme Homme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  <a:tailEnd type="none" w="med" len="lg"/>
            </a:ln>
          </c:spPr>
          <c:marker>
            <c:symbol val="none"/>
          </c:marker>
          <c:cat>
            <c:strRef>
              <c:f>(Sexe!$AK$79,Sexe!$AK$83,Sexe!$AK$87,Sexe!$AK$91)</c:f>
              <c:strCache>
                <c:ptCount val="4"/>
                <c:pt idx="0">
                  <c:v>- de 30 ans</c:v>
                </c:pt>
                <c:pt idx="1">
                  <c:v>30 à 39 ans</c:v>
                </c:pt>
                <c:pt idx="2">
                  <c:v>40 à 49 ans</c:v>
                </c:pt>
                <c:pt idx="3">
                  <c:v>50 ans et +</c:v>
                </c:pt>
              </c:strCache>
            </c:strRef>
          </c:cat>
          <c:val>
            <c:numRef>
              <c:f>(Sexe!$AQ$57,Sexe!$AQ$61,Sexe!$AQ$65,Sexe!$AQ$75)</c:f>
              <c:numCache>
                <c:formatCode>0.0%</c:formatCode>
                <c:ptCount val="4"/>
                <c:pt idx="0">
                  <c:v>8.9989844126007294E-3</c:v>
                </c:pt>
                <c:pt idx="1">
                  <c:v>1.6065072950977602E-2</c:v>
                </c:pt>
                <c:pt idx="2">
                  <c:v>3.0742243613780831E-2</c:v>
                </c:pt>
                <c:pt idx="3">
                  <c:v>3.5021035419416181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064-4598-B8E5-57C62D7F2D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769984"/>
        <c:axId val="105771776"/>
      </c:lineChart>
      <c:catAx>
        <c:axId val="105769984"/>
        <c:scaling>
          <c:orientation val="minMax"/>
        </c:scaling>
        <c:delete val="0"/>
        <c:axPos val="t"/>
        <c:numFmt formatCode="General" sourceLinked="0"/>
        <c:majorTickMark val="out"/>
        <c:minorTickMark val="none"/>
        <c:tickLblPos val="none"/>
        <c:crossAx val="105771776"/>
        <c:crosses val="autoZero"/>
        <c:auto val="1"/>
        <c:lblAlgn val="ctr"/>
        <c:lblOffset val="100"/>
        <c:noMultiLvlLbl val="0"/>
      </c:catAx>
      <c:valAx>
        <c:axId val="105771776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50000"/>
                </a:schemeClr>
              </a:solidFill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crossAx val="105769984"/>
        <c:crosses val="autoZero"/>
        <c:crossBetween val="between"/>
      </c:valAx>
      <c:valAx>
        <c:axId val="105773312"/>
        <c:scaling>
          <c:orientation val="maxMin"/>
        </c:scaling>
        <c:delete val="0"/>
        <c:axPos val="r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105783296"/>
        <c:crosses val="max"/>
        <c:crossBetween val="between"/>
      </c:valAx>
      <c:catAx>
        <c:axId val="105783296"/>
        <c:scaling>
          <c:orientation val="minMax"/>
        </c:scaling>
        <c:delete val="1"/>
        <c:axPos val="t"/>
        <c:majorTickMark val="out"/>
        <c:minorTickMark val="none"/>
        <c:tickLblPos val="nextTo"/>
        <c:crossAx val="105773312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4.199165643417288E-2"/>
          <c:y val="0.88111654962048647"/>
          <c:w val="0.88694468304249996"/>
          <c:h val="0.11622486658433406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050"/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fr-FR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/>
            </a:lvl1pPr>
          </a:lstStyle>
          <a:p>
            <a:fld id="{25BD0B41-8EEA-47D0-8C31-EE65143E74D2}" type="datetimeFigureOut">
              <a:rPr lang="fr-FR" smtClean="0"/>
              <a:t>23/08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1897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/>
            </a:lvl1pPr>
          </a:lstStyle>
          <a:p>
            <a:fld id="{0D97E434-B8EF-4C40-8857-BFED65D468A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8763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/>
            </a:lvl1pPr>
          </a:lstStyle>
          <a:p>
            <a:fld id="{04DF2F2A-DE7D-4F71-8675-F13FCA8D2BD5}" type="datetimeFigureOut">
              <a:rPr lang="fr-FR" smtClean="0"/>
              <a:pPr/>
              <a:t>23/08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75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9" tIns="45350" rIns="90699" bIns="4535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4212" y="4689516"/>
            <a:ext cx="5393690" cy="4442698"/>
          </a:xfrm>
          <a:prstGeom prst="rect">
            <a:avLst/>
          </a:prstGeom>
        </p:spPr>
        <p:txBody>
          <a:bodyPr vert="horz" lIns="90699" tIns="45350" rIns="90699" bIns="4535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/>
            </a:lvl1pPr>
          </a:lstStyle>
          <a:p>
            <a:fld id="{006EC4E6-74B3-4F39-8A0C-3D5F3FAFF85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9144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image" Target="../media/image25.emf"/><Relationship Id="rId7" Type="http://schemas.openxmlformats.org/officeDocument/2006/relationships/image" Target="../media/image29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Relationship Id="rId9" Type="http://schemas.openxmlformats.org/officeDocument/2006/relationships/image" Target="../media/image31.emf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987824" y="1340768"/>
            <a:ext cx="5784696" cy="810876"/>
          </a:xfrm>
        </p:spPr>
        <p:txBody>
          <a:bodyPr>
            <a:normAutofit/>
          </a:bodyPr>
          <a:lstStyle>
            <a:lvl1pPr algn="r"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796136" y="2264002"/>
            <a:ext cx="2991394" cy="2292350"/>
          </a:xfrm>
          <a:prstGeom prst="round1Rect">
            <a:avLst>
              <a:gd name="adj" fmla="val 24265"/>
            </a:avLst>
          </a:prstGeom>
          <a:ln>
            <a:noFill/>
          </a:ln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7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53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30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0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83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60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37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1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 hasCustomPrompt="1"/>
          </p:nvPr>
        </p:nvSpPr>
        <p:spPr>
          <a:xfrm>
            <a:off x="2755705" y="4581617"/>
            <a:ext cx="1223962" cy="28733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102958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 marL="274959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446961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614116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5311395" y="205767"/>
            <a:ext cx="34804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100" b="1" dirty="0">
                <a:solidFill>
                  <a:schemeClr val="bg1"/>
                </a:solidFill>
                <a:latin typeface="+mn-lt"/>
              </a:rPr>
              <a:t>GRAS SAVOYE</a:t>
            </a:r>
            <a:r>
              <a:rPr lang="fr-FR" sz="1100" b="1" baseline="0" dirty="0">
                <a:solidFill>
                  <a:schemeClr val="bg1"/>
                </a:solidFill>
                <a:latin typeface="+mn-lt"/>
              </a:rPr>
              <a:t> | </a:t>
            </a:r>
            <a:r>
              <a:rPr lang="fr-FR" sz="1100" baseline="0" dirty="0">
                <a:solidFill>
                  <a:schemeClr val="bg1"/>
                </a:solidFill>
                <a:latin typeface="+mn-lt"/>
              </a:rPr>
              <a:t>ASSURANCES DE PERSONNES</a:t>
            </a:r>
            <a:endParaRPr lang="fr-FR" sz="11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2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934" y="5661248"/>
            <a:ext cx="1278687" cy="650381"/>
          </a:xfrm>
          <a:prstGeom prst="rect">
            <a:avLst/>
          </a:prstGeom>
        </p:spPr>
      </p:pic>
      <p:sp>
        <p:nvSpPr>
          <p:cNvPr id="5" name="Espace réservé pour une image  4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868144" y="5473710"/>
            <a:ext cx="1295400" cy="9366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Logo clien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096000"/>
            <a:ext cx="9144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228600" y="228600"/>
            <a:ext cx="5751513" cy="1947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6948488" y="1597025"/>
            <a:ext cx="1023937" cy="333375"/>
          </a:xfrm>
          <a:custGeom>
            <a:avLst/>
            <a:gdLst>
              <a:gd name="T0" fmla="*/ 0 w 1073"/>
              <a:gd name="T1" fmla="*/ 2147483647 h 349"/>
              <a:gd name="T2" fmla="*/ 0 w 1073"/>
              <a:gd name="T3" fmla="*/ 2147483647 h 349"/>
              <a:gd name="T4" fmla="*/ 2147483647 w 1073"/>
              <a:gd name="T5" fmla="*/ 2147483647 h 349"/>
              <a:gd name="T6" fmla="*/ 2147483647 w 1073"/>
              <a:gd name="T7" fmla="*/ 0 h 349"/>
              <a:gd name="T8" fmla="*/ 0 w 1073"/>
              <a:gd name="T9" fmla="*/ 0 h 349"/>
              <a:gd name="T10" fmla="*/ 0 w 1073"/>
              <a:gd name="T11" fmla="*/ 2147483647 h 34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2147483647 h 651"/>
              <a:gd name="T2" fmla="*/ 0 w 289"/>
              <a:gd name="T3" fmla="*/ 2147483647 h 651"/>
              <a:gd name="T4" fmla="*/ 2147483647 w 289"/>
              <a:gd name="T5" fmla="*/ 2147483647 h 651"/>
              <a:gd name="T6" fmla="*/ 2147483647 w 289"/>
              <a:gd name="T7" fmla="*/ 0 h 651"/>
              <a:gd name="T8" fmla="*/ 0 w 289"/>
              <a:gd name="T9" fmla="*/ 0 h 651"/>
              <a:gd name="T10" fmla="*/ 0 w 289"/>
              <a:gd name="T11" fmla="*/ 2147483647 h 6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2" name="Freeform 7"/>
          <p:cNvSpPr>
            <a:spLocks/>
          </p:cNvSpPr>
          <p:nvPr userDrawn="1"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2147483647 h 714"/>
              <a:gd name="T2" fmla="*/ 0 w 1324"/>
              <a:gd name="T3" fmla="*/ 2147483647 h 714"/>
              <a:gd name="T4" fmla="*/ 2147483647 w 1324"/>
              <a:gd name="T5" fmla="*/ 2147483647 h 714"/>
              <a:gd name="T6" fmla="*/ 2147483647 w 1324"/>
              <a:gd name="T7" fmla="*/ 0 h 714"/>
              <a:gd name="T8" fmla="*/ 0 w 1324"/>
              <a:gd name="T9" fmla="*/ 0 h 714"/>
              <a:gd name="T10" fmla="*/ 0 w 1324"/>
              <a:gd name="T11" fmla="*/ 2147483647 h 7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3" name="Freeform 8"/>
          <p:cNvSpPr>
            <a:spLocks/>
          </p:cNvSpPr>
          <p:nvPr userDrawn="1"/>
        </p:nvSpPr>
        <p:spPr bwMode="auto">
          <a:xfrm>
            <a:off x="7434263" y="5494338"/>
            <a:ext cx="1263650" cy="344487"/>
          </a:xfrm>
          <a:custGeom>
            <a:avLst/>
            <a:gdLst>
              <a:gd name="T0" fmla="*/ 0 w 1324"/>
              <a:gd name="T1" fmla="*/ 2147483647 h 360"/>
              <a:gd name="T2" fmla="*/ 0 w 1324"/>
              <a:gd name="T3" fmla="*/ 2147483647 h 360"/>
              <a:gd name="T4" fmla="*/ 2147483647 w 1324"/>
              <a:gd name="T5" fmla="*/ 2147483647 h 360"/>
              <a:gd name="T6" fmla="*/ 2147483647 w 1324"/>
              <a:gd name="T7" fmla="*/ 0 h 360"/>
              <a:gd name="T8" fmla="*/ 0 w 1324"/>
              <a:gd name="T9" fmla="*/ 0 h 360"/>
              <a:gd name="T10" fmla="*/ 0 w 1324"/>
              <a:gd name="T11" fmla="*/ 2147483647 h 3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4" name="Freeform 9"/>
          <p:cNvSpPr>
            <a:spLocks/>
          </p:cNvSpPr>
          <p:nvPr userDrawn="1"/>
        </p:nvSpPr>
        <p:spPr bwMode="auto">
          <a:xfrm>
            <a:off x="474663" y="4027488"/>
            <a:ext cx="800100" cy="1811337"/>
          </a:xfrm>
          <a:custGeom>
            <a:avLst/>
            <a:gdLst>
              <a:gd name="T0" fmla="*/ 0 w 839"/>
              <a:gd name="T1" fmla="*/ 2147483647 h 1896"/>
              <a:gd name="T2" fmla="*/ 0 w 839"/>
              <a:gd name="T3" fmla="*/ 2147483647 h 1896"/>
              <a:gd name="T4" fmla="*/ 2147483647 w 839"/>
              <a:gd name="T5" fmla="*/ 2147483647 h 1896"/>
              <a:gd name="T6" fmla="*/ 2147483647 w 839"/>
              <a:gd name="T7" fmla="*/ 0 h 1896"/>
              <a:gd name="T8" fmla="*/ 0 w 839"/>
              <a:gd name="T9" fmla="*/ 0 h 1896"/>
              <a:gd name="T10" fmla="*/ 0 w 839"/>
              <a:gd name="T11" fmla="*/ 2147483647 h 18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5" name="Freeform 10"/>
          <p:cNvSpPr>
            <a:spLocks/>
          </p:cNvSpPr>
          <p:nvPr userDrawn="1"/>
        </p:nvSpPr>
        <p:spPr bwMode="auto">
          <a:xfrm>
            <a:off x="4860925" y="5037138"/>
            <a:ext cx="1031875" cy="338137"/>
          </a:xfrm>
          <a:custGeom>
            <a:avLst/>
            <a:gdLst>
              <a:gd name="T0" fmla="*/ 0 w 1081"/>
              <a:gd name="T1" fmla="*/ 2147483647 h 354"/>
              <a:gd name="T2" fmla="*/ 0 w 1081"/>
              <a:gd name="T3" fmla="*/ 2147483647 h 354"/>
              <a:gd name="T4" fmla="*/ 2147483647 w 1081"/>
              <a:gd name="T5" fmla="*/ 2147483647 h 354"/>
              <a:gd name="T6" fmla="*/ 2147483647 w 1081"/>
              <a:gd name="T7" fmla="*/ 0 h 354"/>
              <a:gd name="T8" fmla="*/ 0 w 1081"/>
              <a:gd name="T9" fmla="*/ 0 h 354"/>
              <a:gd name="T10" fmla="*/ 0 w 1081"/>
              <a:gd name="T11" fmla="*/ 2147483647 h 3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6" name="Freeform 11"/>
          <p:cNvSpPr>
            <a:spLocks/>
          </p:cNvSpPr>
          <p:nvPr userDrawn="1"/>
        </p:nvSpPr>
        <p:spPr bwMode="auto">
          <a:xfrm>
            <a:off x="2300288" y="3571875"/>
            <a:ext cx="2074862" cy="903288"/>
          </a:xfrm>
          <a:custGeom>
            <a:avLst/>
            <a:gdLst>
              <a:gd name="T0" fmla="*/ 0 w 2175"/>
              <a:gd name="T1" fmla="*/ 2147483647 h 945"/>
              <a:gd name="T2" fmla="*/ 0 w 2175"/>
              <a:gd name="T3" fmla="*/ 2147483647 h 945"/>
              <a:gd name="T4" fmla="*/ 2147483647 w 2175"/>
              <a:gd name="T5" fmla="*/ 2147483647 h 945"/>
              <a:gd name="T6" fmla="*/ 2147483647 w 2175"/>
              <a:gd name="T7" fmla="*/ 0 h 945"/>
              <a:gd name="T8" fmla="*/ 0 w 2175"/>
              <a:gd name="T9" fmla="*/ 0 h 945"/>
              <a:gd name="T10" fmla="*/ 0 w 2175"/>
              <a:gd name="T11" fmla="*/ 2147483647 h 94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7" name="Title 1"/>
          <p:cNvSpPr txBox="1">
            <a:spLocks/>
          </p:cNvSpPr>
          <p:nvPr userDrawn="1"/>
        </p:nvSpPr>
        <p:spPr bwMode="auto">
          <a:xfrm>
            <a:off x="463024" y="457200"/>
            <a:ext cx="525780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5344" tIns="37672" rIns="75344" bIns="37672" numCol="1" anchor="ctr" anchorCtr="0" compatLnSpc="1">
            <a:prstTxWarp prst="textNoShape">
              <a:avLst/>
            </a:prstTxWarp>
            <a:noAutofit/>
          </a:bodyPr>
          <a:lstStyle>
            <a:lvl1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003B7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2pPr>
            <a:lvl3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3pPr>
            <a:lvl4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4pPr>
            <a:lvl5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5pPr>
            <a:lvl6pPr marL="348847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6pPr>
            <a:lvl7pPr marL="697695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7pPr>
            <a:lvl8pPr marL="1046542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8pPr>
            <a:lvl9pPr marL="1395389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63024" y="1158874"/>
            <a:ext cx="5257800" cy="6126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Date Placeholder 2"/>
          <p:cNvSpPr>
            <a:spLocks noGrp="1"/>
          </p:cNvSpPr>
          <p:nvPr>
            <p:ph type="dt" sz="half" idx="14"/>
          </p:nvPr>
        </p:nvSpPr>
        <p:spPr>
          <a:xfrm>
            <a:off x="463550" y="18288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" name="Footer Placeholder 3 Copyright"/>
          <p:cNvSpPr>
            <a:spLocks noGrp="1"/>
          </p:cNvSpPr>
          <p:nvPr>
            <p:ph type="ftr" sz="quarter" idx="15"/>
          </p:nvPr>
        </p:nvSpPr>
        <p:spPr>
          <a:xfrm>
            <a:off x="393700" y="6437313"/>
            <a:ext cx="2043113" cy="225425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 dirty="0"/>
              <a:t>© 2016 Willis Towers Watson. All rights reserved.</a:t>
            </a:r>
            <a:endParaRPr lang="en-US" dirty="0"/>
          </a:p>
        </p:txBody>
      </p:sp>
      <p:pic>
        <p:nvPicPr>
          <p:cNvPr id="31" name="Picture 14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77560" y="6195724"/>
            <a:ext cx="30226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4071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èche à quatre pointes 2"/>
          <p:cNvSpPr/>
          <p:nvPr/>
        </p:nvSpPr>
        <p:spPr>
          <a:xfrm>
            <a:off x="755576" y="1212318"/>
            <a:ext cx="7624390" cy="5241018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207832" y="1737879"/>
            <a:ext cx="3198813" cy="1906587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799346" y="1756193"/>
            <a:ext cx="3198813" cy="1906587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162365" y="3915988"/>
            <a:ext cx="3198813" cy="1906587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739365" y="3934302"/>
            <a:ext cx="3198813" cy="1906587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72196785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oupes de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7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>
            <a:off x="1105248" y="2189512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anchor="ctr">
            <a:noAutofit/>
          </a:bodyPr>
          <a:lstStyle>
            <a:lvl1pPr>
              <a:defRPr lang="fr-FR" altLang="fr-FR" sz="1200" b="1" baseline="0" noProof="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57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>
            <a:off x="1105248" y="3339520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anchor="ctr">
            <a:noAutofit/>
          </a:bodyPr>
          <a:lstStyle>
            <a:lvl1pPr>
              <a:defRPr kumimoji="0" lang="fr-FR" altLang="fr-F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58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>
            <a:off x="1105248" y="4478629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anchor="ctr">
            <a:noAutofit/>
          </a:bodyPr>
          <a:lstStyle>
            <a:lvl1pPr>
              <a:defRPr kumimoji="0" lang="fr-FR" alt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1" name="Espace réservé du texte 11"/>
          <p:cNvSpPr>
            <a:spLocks noGrp="1"/>
          </p:cNvSpPr>
          <p:nvPr>
            <p:ph type="body" sz="quarter" idx="37"/>
          </p:nvPr>
        </p:nvSpPr>
        <p:spPr bwMode="auto">
          <a:xfrm>
            <a:off x="3373281" y="2198319"/>
            <a:ext cx="2304255" cy="318031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72000" rIns="72000" bIns="72000" anchor="ctr">
            <a:noAutofit/>
          </a:bodyPr>
          <a:lstStyle>
            <a:lvl1pPr algn="ctr">
              <a:defRPr lang="fr-FR" altLang="fr-FR" sz="1800" baseline="0" noProof="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2" name="Espace réservé du texte 11"/>
          <p:cNvSpPr>
            <a:spLocks noGrp="1"/>
          </p:cNvSpPr>
          <p:nvPr>
            <p:ph type="body" sz="quarter" idx="38"/>
          </p:nvPr>
        </p:nvSpPr>
        <p:spPr bwMode="auto">
          <a:xfrm flipH="1">
            <a:off x="5965568" y="2189512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72000" anchor="ctr">
            <a:noAutofit/>
          </a:bodyPr>
          <a:lstStyle>
            <a:lvl1pPr algn="r">
              <a:defRPr kumimoji="0" lang="fr-FR" altLang="fr-F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3" name="Espace réservé du texte 11"/>
          <p:cNvSpPr>
            <a:spLocks noGrp="1"/>
          </p:cNvSpPr>
          <p:nvPr>
            <p:ph type="body" sz="quarter" idx="39"/>
          </p:nvPr>
        </p:nvSpPr>
        <p:spPr bwMode="auto">
          <a:xfrm flipH="1">
            <a:off x="5965568" y="3339520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72000" anchor="ctr">
            <a:noAutofit/>
          </a:bodyPr>
          <a:lstStyle>
            <a:lvl1pPr algn="r">
              <a:defRPr kumimoji="0" lang="fr-FR" altLang="fr-F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4" name="Espace réservé du texte 11"/>
          <p:cNvSpPr>
            <a:spLocks noGrp="1"/>
          </p:cNvSpPr>
          <p:nvPr>
            <p:ph type="body" sz="quarter" idx="40"/>
          </p:nvPr>
        </p:nvSpPr>
        <p:spPr bwMode="auto">
          <a:xfrm flipH="1">
            <a:off x="5965568" y="4478629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72000" anchor="ctr">
            <a:noAutofit/>
          </a:bodyPr>
          <a:lstStyle>
            <a:lvl1pPr algn="r">
              <a:defRPr kumimoji="0" lang="fr-FR" alt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559144" y="2323464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559144" y="3473218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47" hasCustomPrompt="1"/>
          </p:nvPr>
        </p:nvSpPr>
        <p:spPr bwMode="auto">
          <a:xfrm>
            <a:off x="559144" y="4610248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48" hasCustomPrompt="1"/>
          </p:nvPr>
        </p:nvSpPr>
        <p:spPr bwMode="auto">
          <a:xfrm>
            <a:off x="7981792" y="2315476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2" name="Espace réservé du texte 11"/>
          <p:cNvSpPr>
            <a:spLocks noGrp="1"/>
          </p:cNvSpPr>
          <p:nvPr>
            <p:ph type="body" sz="quarter" idx="49" hasCustomPrompt="1"/>
          </p:nvPr>
        </p:nvSpPr>
        <p:spPr bwMode="auto">
          <a:xfrm>
            <a:off x="7981792" y="3465230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3" name="Espace réservé du texte 11"/>
          <p:cNvSpPr>
            <a:spLocks noGrp="1"/>
          </p:cNvSpPr>
          <p:nvPr>
            <p:ph type="body" sz="quarter" idx="50" hasCustomPrompt="1"/>
          </p:nvPr>
        </p:nvSpPr>
        <p:spPr bwMode="auto">
          <a:xfrm>
            <a:off x="7981792" y="4602260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cxnSp>
        <p:nvCxnSpPr>
          <p:cNvPr id="16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187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xe verticale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à coins arrondis 22"/>
          <p:cNvSpPr/>
          <p:nvPr/>
        </p:nvSpPr>
        <p:spPr>
          <a:xfrm>
            <a:off x="4355574" y="1231910"/>
            <a:ext cx="46038" cy="4716000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1469718" y="2290300"/>
            <a:ext cx="2592288" cy="720000"/>
          </a:xfrm>
          <a:prstGeom prst="roundRect">
            <a:avLst>
              <a:gd name="adj" fmla="val 24756"/>
            </a:avLst>
          </a:prstGeom>
          <a:solidFill>
            <a:srgbClr val="D48FE4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41"/>
          </p:nvPr>
        </p:nvSpPr>
        <p:spPr>
          <a:xfrm rot="2700000">
            <a:off x="3168956" y="3220922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671E78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42"/>
          </p:nvPr>
        </p:nvSpPr>
        <p:spPr>
          <a:xfrm rot="2700000">
            <a:off x="3168956" y="1336196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42134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43"/>
          </p:nvPr>
        </p:nvSpPr>
        <p:spPr>
          <a:xfrm rot="2700000">
            <a:off x="3168956" y="5142483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87279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11"/>
          <p:cNvSpPr>
            <a:spLocks noGrp="1"/>
          </p:cNvSpPr>
          <p:nvPr>
            <p:ph type="body" sz="quarter" idx="44"/>
          </p:nvPr>
        </p:nvSpPr>
        <p:spPr>
          <a:xfrm rot="18900000" flipH="1">
            <a:off x="4806266" y="2281490"/>
            <a:ext cx="754386" cy="737621"/>
          </a:xfrm>
          <a:prstGeom prst="teardrop">
            <a:avLst>
              <a:gd name="adj" fmla="val 130576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46"/>
          </p:nvPr>
        </p:nvSpPr>
        <p:spPr>
          <a:xfrm rot="18900000" flipH="1">
            <a:off x="4806266" y="4167955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C05AD8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1"/>
          <p:cNvSpPr>
            <a:spLocks noGrp="1"/>
          </p:cNvSpPr>
          <p:nvPr>
            <p:ph type="body" sz="quarter" idx="47"/>
          </p:nvPr>
        </p:nvSpPr>
        <p:spPr>
          <a:xfrm rot="2700000">
            <a:off x="3327069" y="3382940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B742D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48"/>
          </p:nvPr>
        </p:nvSpPr>
        <p:spPr>
          <a:xfrm rot="2700000">
            <a:off x="3327069" y="1498214"/>
            <a:ext cx="422985" cy="413585"/>
          </a:xfrm>
          <a:prstGeom prst="teardrop">
            <a:avLst>
              <a:gd name="adj" fmla="val 130576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Espace réservé du texte 11"/>
          <p:cNvSpPr>
            <a:spLocks noGrp="1"/>
          </p:cNvSpPr>
          <p:nvPr>
            <p:ph type="body" sz="quarter" idx="49"/>
          </p:nvPr>
        </p:nvSpPr>
        <p:spPr>
          <a:xfrm rot="2700000">
            <a:off x="3327069" y="5269956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42134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51"/>
          </p:nvPr>
        </p:nvSpPr>
        <p:spPr bwMode="auto">
          <a:xfrm>
            <a:off x="4684186" y="1345006"/>
            <a:ext cx="2592288" cy="720000"/>
          </a:xfrm>
          <a:prstGeom prst="roundRect">
            <a:avLst>
              <a:gd name="adj" fmla="val 24756"/>
            </a:avLst>
          </a:prstGeom>
          <a:solidFill>
            <a:srgbClr val="4213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lvl1pPr algn="ctr">
              <a:defRPr lang="fr-FR" dirty="0" smtClean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Espace réservé du texte 11"/>
          <p:cNvSpPr>
            <a:spLocks noGrp="1"/>
          </p:cNvSpPr>
          <p:nvPr>
            <p:ph type="body" sz="quarter" idx="52"/>
          </p:nvPr>
        </p:nvSpPr>
        <p:spPr bwMode="auto">
          <a:xfrm>
            <a:off x="4694309" y="3229732"/>
            <a:ext cx="2592000" cy="720000"/>
          </a:xfrm>
          <a:prstGeom prst="roundRect">
            <a:avLst>
              <a:gd name="adj" fmla="val 24756"/>
            </a:avLst>
          </a:prstGeom>
          <a:solidFill>
            <a:srgbClr val="671E78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>
            <a:lvl1pPr algn="ctr">
              <a:defRPr lang="fr-F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Espace réservé du texte 11"/>
          <p:cNvSpPr>
            <a:spLocks noGrp="1"/>
          </p:cNvSpPr>
          <p:nvPr>
            <p:ph type="body" sz="quarter" idx="53"/>
          </p:nvPr>
        </p:nvSpPr>
        <p:spPr bwMode="auto">
          <a:xfrm>
            <a:off x="1469718" y="4176765"/>
            <a:ext cx="2592288" cy="720000"/>
          </a:xfrm>
          <a:prstGeom prst="roundRect">
            <a:avLst>
              <a:gd name="adj" fmla="val 24756"/>
            </a:avLst>
          </a:prstGeom>
          <a:solidFill>
            <a:srgbClr val="C05AD8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>
            <a:lvl1pPr algn="ctr">
              <a:defRPr lang="fr-F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Espace réservé du texte 11"/>
          <p:cNvSpPr>
            <a:spLocks noGrp="1"/>
          </p:cNvSpPr>
          <p:nvPr>
            <p:ph type="body" sz="quarter" idx="54"/>
          </p:nvPr>
        </p:nvSpPr>
        <p:spPr bwMode="auto">
          <a:xfrm>
            <a:off x="4717605" y="5116748"/>
            <a:ext cx="2558869" cy="720000"/>
          </a:xfrm>
          <a:prstGeom prst="roundRect">
            <a:avLst>
              <a:gd name="adj" fmla="val 24756"/>
            </a:avLst>
          </a:prstGeom>
          <a:solidFill>
            <a:srgbClr val="87279D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>
            <a:lvl1pPr algn="ctr">
              <a:defRPr lang="fr-F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4" name="Espace réservé du texte 11"/>
          <p:cNvSpPr>
            <a:spLocks noGrp="1"/>
          </p:cNvSpPr>
          <p:nvPr>
            <p:ph type="body" sz="quarter" idx="56"/>
          </p:nvPr>
        </p:nvSpPr>
        <p:spPr>
          <a:xfrm rot="18900000" flipH="1">
            <a:off x="4970960" y="2443508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671E78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5" name="Espace réservé du texte 11"/>
          <p:cNvSpPr>
            <a:spLocks noGrp="1"/>
          </p:cNvSpPr>
          <p:nvPr>
            <p:ph type="body" sz="quarter" idx="57"/>
          </p:nvPr>
        </p:nvSpPr>
        <p:spPr>
          <a:xfrm rot="18900000" flipH="1">
            <a:off x="4970960" y="4329973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87279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4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à coins arrondis 2"/>
          <p:cNvSpPr/>
          <p:nvPr/>
        </p:nvSpPr>
        <p:spPr>
          <a:xfrm>
            <a:off x="4525408" y="3247732"/>
            <a:ext cx="72008" cy="684000"/>
          </a:xfrm>
          <a:prstGeom prst="roundRect">
            <a:avLst/>
          </a:prstGeom>
          <a:solidFill>
            <a:srgbClr val="671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à coins arrondis 28"/>
          <p:cNvSpPr/>
          <p:nvPr/>
        </p:nvSpPr>
        <p:spPr>
          <a:xfrm>
            <a:off x="4525408" y="5134748"/>
            <a:ext cx="72008" cy="684000"/>
          </a:xfrm>
          <a:prstGeom prst="roundRect">
            <a:avLst/>
          </a:prstGeom>
          <a:solidFill>
            <a:srgbClr val="8727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à coins arrondis 29"/>
          <p:cNvSpPr/>
          <p:nvPr/>
        </p:nvSpPr>
        <p:spPr>
          <a:xfrm>
            <a:off x="4535996" y="1363006"/>
            <a:ext cx="72008" cy="684000"/>
          </a:xfrm>
          <a:prstGeom prst="roundRect">
            <a:avLst/>
          </a:prstGeom>
          <a:solidFill>
            <a:srgbClr val="421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Rectangle à coins arrondis 31"/>
          <p:cNvSpPr/>
          <p:nvPr/>
        </p:nvSpPr>
        <p:spPr>
          <a:xfrm>
            <a:off x="4180719" y="2308300"/>
            <a:ext cx="72008" cy="684000"/>
          </a:xfrm>
          <a:prstGeom prst="roundRect">
            <a:avLst/>
          </a:prstGeom>
          <a:solidFill>
            <a:srgbClr val="D48F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à coins arrondis 32"/>
          <p:cNvSpPr/>
          <p:nvPr/>
        </p:nvSpPr>
        <p:spPr>
          <a:xfrm>
            <a:off x="4186543" y="4194765"/>
            <a:ext cx="72008" cy="684000"/>
          </a:xfrm>
          <a:prstGeom prst="roundRect">
            <a:avLst/>
          </a:prstGeom>
          <a:solidFill>
            <a:srgbClr val="C05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6043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_Quarts d'ann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11"/>
          <p:cNvSpPr>
            <a:spLocks noGrp="1"/>
          </p:cNvSpPr>
          <p:nvPr>
            <p:ph type="body" sz="quarter" idx="42"/>
          </p:nvPr>
        </p:nvSpPr>
        <p:spPr bwMode="auto">
          <a:xfrm>
            <a:off x="2005311" y="1355977"/>
            <a:ext cx="2244411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3734" y="1857372"/>
                  <a:pt x="1160104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rgbClr val="870AAE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43"/>
          </p:nvPr>
        </p:nvSpPr>
        <p:spPr bwMode="auto">
          <a:xfrm rot="5400000">
            <a:off x="4246904" y="1355977"/>
            <a:ext cx="2232000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4893 w 2244411"/>
              <a:gd name="connsiteY7" fmla="*/ 2229619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4893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8523" y="1857372"/>
                  <a:pt x="1164893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rgbClr val="776189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rgbClr val="672C94">
                    <a:alpha val="0"/>
                  </a:srgb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44"/>
          </p:nvPr>
        </p:nvSpPr>
        <p:spPr bwMode="auto">
          <a:xfrm flipV="1">
            <a:off x="2007559" y="3574396"/>
            <a:ext cx="2244411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3734" y="1857372"/>
                  <a:pt x="1160104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45"/>
          </p:nvPr>
        </p:nvSpPr>
        <p:spPr bwMode="auto">
          <a:xfrm rot="16200000" flipV="1">
            <a:off x="4246904" y="3574396"/>
            <a:ext cx="2232000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4894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8524" y="1857372"/>
                  <a:pt x="1164894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 rot="18731679">
            <a:off x="1727755" y="2157501"/>
            <a:ext cx="2754322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baseline="0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 rot="2676288">
            <a:off x="1762134" y="4281039"/>
            <a:ext cx="2710229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 rot="18721771">
            <a:off x="4105315" y="4284611"/>
            <a:ext cx="2460925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 rot="2864980">
            <a:off x="4061759" y="2081751"/>
            <a:ext cx="2551312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30"/>
          </p:nvPr>
        </p:nvSpPr>
        <p:spPr>
          <a:xfrm>
            <a:off x="3779912" y="3106632"/>
            <a:ext cx="936625" cy="936104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cxnSp>
        <p:nvCxnSpPr>
          <p:cNvPr id="16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9225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Jalons projet - 5 da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216652" y="4206445"/>
            <a:ext cx="7789448" cy="648072"/>
            <a:chOff x="1187624" y="4653136"/>
            <a:chExt cx="7789448" cy="648072"/>
          </a:xfrm>
          <a:effectLst>
            <a:reflection blurRad="6350" stA="10000" endPos="87000" dir="5400000" sy="-100000" algn="bl" rotWithShape="0"/>
          </a:effectLst>
          <a:scene3d>
            <a:camera prst="perspectiveFront" fov="3300000">
              <a:rot lat="600000" lon="19200000" rev="0"/>
            </a:camera>
            <a:lightRig rig="threePt" dir="t"/>
          </a:scene3d>
        </p:grpSpPr>
        <p:sp>
          <p:nvSpPr>
            <p:cNvPr id="22" name="Pentagone 21"/>
            <p:cNvSpPr/>
            <p:nvPr/>
          </p:nvSpPr>
          <p:spPr>
            <a:xfrm>
              <a:off x="1187624" y="4653136"/>
              <a:ext cx="1398214" cy="648072"/>
            </a:xfrm>
            <a:prstGeom prst="homePlate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3" name="Chevron 22"/>
            <p:cNvSpPr/>
            <p:nvPr/>
          </p:nvSpPr>
          <p:spPr>
            <a:xfrm>
              <a:off x="2446016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4" name="Chevron 23"/>
            <p:cNvSpPr/>
            <p:nvPr/>
          </p:nvSpPr>
          <p:spPr>
            <a:xfrm>
              <a:off x="3536623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5" name="Chevron 24"/>
            <p:cNvSpPr/>
            <p:nvPr/>
          </p:nvSpPr>
          <p:spPr>
            <a:xfrm>
              <a:off x="4627229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6" name="Chevron 25"/>
            <p:cNvSpPr/>
            <p:nvPr/>
          </p:nvSpPr>
          <p:spPr>
            <a:xfrm>
              <a:off x="5717836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7" name="Chevron 26"/>
            <p:cNvSpPr/>
            <p:nvPr/>
          </p:nvSpPr>
          <p:spPr>
            <a:xfrm>
              <a:off x="6732240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8" name="Chevron 27"/>
            <p:cNvSpPr/>
            <p:nvPr/>
          </p:nvSpPr>
          <p:spPr>
            <a:xfrm>
              <a:off x="7746644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26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25"/>
          </p:nvPr>
        </p:nvSpPr>
        <p:spPr>
          <a:xfrm rot="16200000">
            <a:off x="1036632" y="3594377"/>
            <a:ext cx="1872208" cy="0"/>
          </a:xfrm>
          <a:prstGeom prst="rect">
            <a:avLst/>
          </a:prstGeom>
          <a:ln w="12700">
            <a:solidFill>
              <a:srgbClr val="DA9EE6"/>
            </a:solidFill>
          </a:ln>
          <a:effectLst/>
        </p:spPr>
        <p:txBody>
          <a:bodyPr lIns="36000" tIns="36000" rIns="36000" bIns="36000" anchor="b">
            <a:noAutofit/>
          </a:bodyPr>
          <a:lstStyle>
            <a:lvl1pPr marL="0" indent="0" algn="ctr">
              <a:buNone/>
              <a:defRPr sz="1000" b="1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26"/>
          </p:nvPr>
        </p:nvSpPr>
        <p:spPr>
          <a:xfrm rot="16200000">
            <a:off x="2332776" y="3450502"/>
            <a:ext cx="1872208" cy="0"/>
          </a:xfrm>
          <a:prstGeom prst="rect">
            <a:avLst/>
          </a:prstGeom>
          <a:ln w="12700">
            <a:solidFill>
              <a:srgbClr val="DA9EE6"/>
            </a:solidFill>
          </a:ln>
        </p:spPr>
        <p:txBody>
          <a:bodyPr lIns="36000" tIns="36000" rIns="36000" bIns="36000" anchor="b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27"/>
          </p:nvPr>
        </p:nvSpPr>
        <p:spPr>
          <a:xfrm rot="16200000">
            <a:off x="3628920" y="3306486"/>
            <a:ext cx="1872208" cy="0"/>
          </a:xfrm>
          <a:prstGeom prst="rect">
            <a:avLst/>
          </a:prstGeom>
          <a:noFill/>
          <a:ln w="12700">
            <a:solidFill>
              <a:srgbClr val="DA9EE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b">
            <a:noAutofit/>
          </a:bodyPr>
          <a:lstStyle>
            <a:lvl1pPr>
              <a:defRPr lang="fr-FR" sz="10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28"/>
          </p:nvPr>
        </p:nvSpPr>
        <p:spPr>
          <a:xfrm rot="16200000">
            <a:off x="4853056" y="3212707"/>
            <a:ext cx="1872208" cy="0"/>
          </a:xfrm>
          <a:prstGeom prst="rect">
            <a:avLst/>
          </a:prstGeom>
          <a:noFill/>
          <a:ln w="12700">
            <a:solidFill>
              <a:srgbClr val="DA9EE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b">
            <a:noAutofit/>
          </a:bodyPr>
          <a:lstStyle>
            <a:lvl1pPr>
              <a:defRPr lang="fr-FR" sz="10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29"/>
          </p:nvPr>
        </p:nvSpPr>
        <p:spPr>
          <a:xfrm rot="16200000">
            <a:off x="6149200" y="3090462"/>
            <a:ext cx="1872208" cy="0"/>
          </a:xfrm>
          <a:prstGeom prst="rect">
            <a:avLst/>
          </a:prstGeom>
          <a:noFill/>
          <a:ln w="12700">
            <a:solidFill>
              <a:srgbClr val="DA9EE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b">
            <a:noAutofit/>
          </a:bodyPr>
          <a:lstStyle>
            <a:lvl1pPr>
              <a:defRPr lang="fr-FR" sz="10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30"/>
          </p:nvPr>
        </p:nvSpPr>
        <p:spPr>
          <a:xfrm>
            <a:off x="1494718" y="1896318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8"/>
          <p:cNvSpPr>
            <a:spLocks noGrp="1"/>
          </p:cNvSpPr>
          <p:nvPr>
            <p:ph type="body" sz="quarter" idx="31"/>
          </p:nvPr>
        </p:nvSpPr>
        <p:spPr>
          <a:xfrm>
            <a:off x="2764824" y="1736824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32"/>
          </p:nvPr>
        </p:nvSpPr>
        <p:spPr>
          <a:xfrm>
            <a:off x="4034930" y="1621274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8"/>
          <p:cNvSpPr>
            <a:spLocks noGrp="1"/>
          </p:cNvSpPr>
          <p:nvPr>
            <p:ph type="body" sz="quarter" idx="33"/>
          </p:nvPr>
        </p:nvSpPr>
        <p:spPr>
          <a:xfrm>
            <a:off x="5305036" y="1549266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8"/>
          <p:cNvSpPr>
            <a:spLocks noGrp="1"/>
          </p:cNvSpPr>
          <p:nvPr>
            <p:ph type="body" sz="quarter" idx="34"/>
          </p:nvPr>
        </p:nvSpPr>
        <p:spPr>
          <a:xfrm>
            <a:off x="6575142" y="1411945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3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63826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1 idée / 5 preu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>
            <a:off x="1670050" y="2073275"/>
            <a:ext cx="1692275" cy="1692275"/>
          </a:xfrm>
          <a:prstGeom prst="ellipse">
            <a:avLst/>
          </a:prstGeom>
          <a:solidFill>
            <a:srgbClr val="591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0" name="Rectangle 4"/>
          <p:cNvSpPr/>
          <p:nvPr/>
        </p:nvSpPr>
        <p:spPr>
          <a:xfrm rot="2220000">
            <a:off x="2794000" y="3163888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591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1" name="Rectangle 4"/>
          <p:cNvSpPr/>
          <p:nvPr/>
        </p:nvSpPr>
        <p:spPr>
          <a:xfrm rot="3180000" flipV="1">
            <a:off x="2366169" y="3585369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591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2" name="Ellipse 11"/>
          <p:cNvSpPr/>
          <p:nvPr/>
        </p:nvSpPr>
        <p:spPr>
          <a:xfrm flipH="1">
            <a:off x="5688013" y="2073275"/>
            <a:ext cx="1692275" cy="1692275"/>
          </a:xfrm>
          <a:prstGeom prst="ellipse">
            <a:avLst/>
          </a:prstGeom>
          <a:solidFill>
            <a:srgbClr val="8C28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3" name="Rectangle 4"/>
          <p:cNvSpPr/>
          <p:nvPr/>
        </p:nvSpPr>
        <p:spPr>
          <a:xfrm rot="19380000" flipH="1">
            <a:off x="4579938" y="3163888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8C28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4" name="Rectangle 4"/>
          <p:cNvSpPr/>
          <p:nvPr/>
        </p:nvSpPr>
        <p:spPr>
          <a:xfrm rot="18420000" flipH="1" flipV="1">
            <a:off x="5007769" y="3585369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8C28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grpSp>
        <p:nvGrpSpPr>
          <p:cNvPr id="15" name="Groupe 13"/>
          <p:cNvGrpSpPr>
            <a:grpSpLocks/>
          </p:cNvGrpSpPr>
          <p:nvPr/>
        </p:nvGrpSpPr>
        <p:grpSpPr bwMode="auto">
          <a:xfrm rot="2700000">
            <a:off x="3155950" y="1387475"/>
            <a:ext cx="2800350" cy="2806700"/>
            <a:chOff x="-946284" y="1066643"/>
            <a:chExt cx="2800712" cy="2807119"/>
          </a:xfrm>
        </p:grpSpPr>
        <p:sp>
          <p:nvSpPr>
            <p:cNvPr id="16" name="Ellipse 15"/>
            <p:cNvSpPr/>
            <p:nvPr userDrawn="1"/>
          </p:nvSpPr>
          <p:spPr>
            <a:xfrm>
              <a:off x="-946777" y="1067080"/>
              <a:ext cx="1692494" cy="1692528"/>
            </a:xfrm>
            <a:prstGeom prst="ellipse">
              <a:avLst/>
            </a:pr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Rectangle 4"/>
            <p:cNvSpPr/>
            <p:nvPr userDrawn="1"/>
          </p:nvSpPr>
          <p:spPr>
            <a:xfrm rot="2220000">
              <a:off x="175980" y="2163455"/>
              <a:ext cx="1676617" cy="89865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Rectangle 4"/>
            <p:cNvSpPr/>
            <p:nvPr userDrawn="1"/>
          </p:nvSpPr>
          <p:spPr>
            <a:xfrm rot="3180000" flipV="1">
              <a:off x="-251215" y="2585367"/>
              <a:ext cx="1676650" cy="90022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grpSp>
        <p:nvGrpSpPr>
          <p:cNvPr id="19" name="Groupe 17"/>
          <p:cNvGrpSpPr>
            <a:grpSpLocks/>
          </p:cNvGrpSpPr>
          <p:nvPr/>
        </p:nvGrpSpPr>
        <p:grpSpPr bwMode="auto">
          <a:xfrm rot="8100000">
            <a:off x="5240338" y="3548063"/>
            <a:ext cx="2800350" cy="2806700"/>
            <a:chOff x="-946284" y="1066643"/>
            <a:chExt cx="2800712" cy="2807119"/>
          </a:xfrm>
        </p:grpSpPr>
        <p:sp>
          <p:nvSpPr>
            <p:cNvPr id="20" name="Ellipse 19"/>
            <p:cNvSpPr/>
            <p:nvPr userDrawn="1"/>
          </p:nvSpPr>
          <p:spPr>
            <a:xfrm>
              <a:off x="-945654" y="1068203"/>
              <a:ext cx="1692494" cy="1692528"/>
            </a:xfrm>
            <a:prstGeom prst="ellipse">
              <a:avLst/>
            </a:pr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1" name="Rectangle 4"/>
            <p:cNvSpPr/>
            <p:nvPr userDrawn="1"/>
          </p:nvSpPr>
          <p:spPr>
            <a:xfrm rot="2220000">
              <a:off x="177102" y="2164579"/>
              <a:ext cx="1676617" cy="89865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2" name="Rectangle 4"/>
            <p:cNvSpPr/>
            <p:nvPr userDrawn="1"/>
          </p:nvSpPr>
          <p:spPr>
            <a:xfrm rot="3180000" flipV="1">
              <a:off x="-250093" y="2586490"/>
              <a:ext cx="1676650" cy="900228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grpSp>
        <p:nvGrpSpPr>
          <p:cNvPr id="23" name="Groupe 21"/>
          <p:cNvGrpSpPr>
            <a:grpSpLocks/>
          </p:cNvGrpSpPr>
          <p:nvPr/>
        </p:nvGrpSpPr>
        <p:grpSpPr bwMode="auto">
          <a:xfrm rot="-2700000">
            <a:off x="1122363" y="3548063"/>
            <a:ext cx="2800350" cy="2806700"/>
            <a:chOff x="-946284" y="1066643"/>
            <a:chExt cx="2800712" cy="2807119"/>
          </a:xfrm>
        </p:grpSpPr>
        <p:sp>
          <p:nvSpPr>
            <p:cNvPr id="24" name="Ellipse 23"/>
            <p:cNvSpPr/>
            <p:nvPr userDrawn="1"/>
          </p:nvSpPr>
          <p:spPr>
            <a:xfrm>
              <a:off x="-945654" y="1065957"/>
              <a:ext cx="1692494" cy="1692528"/>
            </a:xfrm>
            <a:prstGeom prst="ellipse">
              <a:avLst/>
            </a:pr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5" name="Rectangle 4"/>
            <p:cNvSpPr/>
            <p:nvPr userDrawn="1"/>
          </p:nvSpPr>
          <p:spPr>
            <a:xfrm rot="2220000">
              <a:off x="177102" y="2162333"/>
              <a:ext cx="1676617" cy="89865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6" name="Rectangle 4"/>
            <p:cNvSpPr/>
            <p:nvPr userDrawn="1"/>
          </p:nvSpPr>
          <p:spPr>
            <a:xfrm rot="3180000" flipV="1">
              <a:off x="-248971" y="2583121"/>
              <a:ext cx="1676650" cy="90022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sp>
        <p:nvSpPr>
          <p:cNvPr id="27" name="Ellipse 26"/>
          <p:cNvSpPr/>
          <p:nvPr/>
        </p:nvSpPr>
        <p:spPr>
          <a:xfrm>
            <a:off x="3205163" y="3452813"/>
            <a:ext cx="2695575" cy="2695575"/>
          </a:xfrm>
          <a:prstGeom prst="ellipse">
            <a:avLst/>
          </a:prstGeom>
          <a:solidFill>
            <a:srgbClr val="4514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28" name="Ellipse 27"/>
          <p:cNvSpPr/>
          <p:nvPr/>
        </p:nvSpPr>
        <p:spPr>
          <a:xfrm>
            <a:off x="3324225" y="3565525"/>
            <a:ext cx="2465388" cy="24653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9" name="ZoneTexte 27"/>
          <p:cNvSpPr txBox="1">
            <a:spLocks noChangeArrowheads="1"/>
          </p:cNvSpPr>
          <p:nvPr/>
        </p:nvSpPr>
        <p:spPr bwMode="auto">
          <a:xfrm>
            <a:off x="1725613" y="2327275"/>
            <a:ext cx="16351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fr-FR" altLang="fr-FR" sz="1400" b="1">
                <a:solidFill>
                  <a:srgbClr val="4A4D50"/>
                </a:solidFill>
              </a:rPr>
              <a:t>Etudier les solutions de transfert</a:t>
            </a:r>
          </a:p>
        </p:txBody>
      </p:sp>
      <p:sp>
        <p:nvSpPr>
          <p:cNvPr id="30" name="Arc 29"/>
          <p:cNvSpPr/>
          <p:nvPr/>
        </p:nvSpPr>
        <p:spPr>
          <a:xfrm rot="17788147">
            <a:off x="1203325" y="3670300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1" name="Arc 30"/>
          <p:cNvSpPr/>
          <p:nvPr/>
        </p:nvSpPr>
        <p:spPr>
          <a:xfrm rot="20084604">
            <a:off x="2805113" y="1955800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2" name="Arc 31"/>
          <p:cNvSpPr/>
          <p:nvPr/>
        </p:nvSpPr>
        <p:spPr>
          <a:xfrm rot="804191">
            <a:off x="5070475" y="1885950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3" name="Arc 32"/>
          <p:cNvSpPr/>
          <p:nvPr/>
        </p:nvSpPr>
        <p:spPr>
          <a:xfrm rot="3860941">
            <a:off x="6608763" y="3508375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4" name="Ellipse 33"/>
          <p:cNvSpPr/>
          <p:nvPr/>
        </p:nvSpPr>
        <p:spPr>
          <a:xfrm>
            <a:off x="1774825" y="2171700"/>
            <a:ext cx="1476375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5" name="Ellipse 34"/>
          <p:cNvSpPr/>
          <p:nvPr/>
        </p:nvSpPr>
        <p:spPr>
          <a:xfrm>
            <a:off x="998538" y="4213225"/>
            <a:ext cx="1474787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6" name="Ellipse 35"/>
          <p:cNvSpPr/>
          <p:nvPr/>
        </p:nvSpPr>
        <p:spPr>
          <a:xfrm>
            <a:off x="6691313" y="4214813"/>
            <a:ext cx="1474787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7" name="Ellipse 36"/>
          <p:cNvSpPr/>
          <p:nvPr/>
        </p:nvSpPr>
        <p:spPr>
          <a:xfrm>
            <a:off x="5802313" y="2171700"/>
            <a:ext cx="1474787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44" name="Ellipse 43"/>
          <p:cNvSpPr/>
          <p:nvPr/>
        </p:nvSpPr>
        <p:spPr>
          <a:xfrm>
            <a:off x="3817938" y="1265238"/>
            <a:ext cx="1476375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8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3799724" y="1496076"/>
            <a:ext cx="151216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9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1741188" y="2369572"/>
            <a:ext cx="151216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461171" y="4064741"/>
            <a:ext cx="2189274" cy="151216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783520" y="2369572"/>
            <a:ext cx="151216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6690576" y="4413204"/>
            <a:ext cx="1476000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986329" y="4413204"/>
            <a:ext cx="1499062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45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6650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1 idée / 6 preu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e 7"/>
          <p:cNvGrpSpPr>
            <a:grpSpLocks/>
          </p:cNvGrpSpPr>
          <p:nvPr/>
        </p:nvGrpSpPr>
        <p:grpSpPr bwMode="auto">
          <a:xfrm>
            <a:off x="1152525" y="1204913"/>
            <a:ext cx="6538913" cy="5043487"/>
            <a:chOff x="1012825" y="1265238"/>
            <a:chExt cx="7062788" cy="5448300"/>
          </a:xfrm>
        </p:grpSpPr>
        <p:grpSp>
          <p:nvGrpSpPr>
            <p:cNvPr id="11" name="Groupe 3"/>
            <p:cNvGrpSpPr>
              <a:grpSpLocks/>
            </p:cNvGrpSpPr>
            <p:nvPr/>
          </p:nvGrpSpPr>
          <p:grpSpPr bwMode="auto">
            <a:xfrm rot="120000">
              <a:off x="2705100" y="1435100"/>
              <a:ext cx="2106613" cy="2974975"/>
              <a:chOff x="2729549" y="1435120"/>
              <a:chExt cx="2106613" cy="2974975"/>
            </a:xfrm>
          </p:grpSpPr>
          <p:sp>
            <p:nvSpPr>
              <p:cNvPr id="50" name="Ellipse 49"/>
              <p:cNvSpPr/>
              <p:nvPr/>
            </p:nvSpPr>
            <p:spPr>
              <a:xfrm rot="1200000">
                <a:off x="2729396" y="1433303"/>
                <a:ext cx="1692395" cy="1692625"/>
              </a:xfrm>
              <a:prstGeom prst="ellipse">
                <a:avLst/>
              </a:prstGeom>
              <a:solidFill>
                <a:srgbClr val="70208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51" name="Rectangle 4"/>
              <p:cNvSpPr/>
              <p:nvPr/>
            </p:nvSpPr>
            <p:spPr>
              <a:xfrm rot="3420000">
                <a:off x="3547160" y="2871121"/>
                <a:ext cx="1677192" cy="900210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70208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52" name="Rectangle 4"/>
              <p:cNvSpPr/>
              <p:nvPr/>
            </p:nvSpPr>
            <p:spPr>
              <a:xfrm rot="4380000" flipV="1">
                <a:off x="2998186" y="3118517"/>
                <a:ext cx="1677192" cy="900209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70208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2" name="Groupe 4"/>
            <p:cNvGrpSpPr>
              <a:grpSpLocks/>
            </p:cNvGrpSpPr>
            <p:nvPr/>
          </p:nvGrpSpPr>
          <p:grpSpPr bwMode="auto">
            <a:xfrm>
              <a:off x="1354138" y="2771775"/>
              <a:ext cx="2970212" cy="2109788"/>
              <a:chOff x="1354708" y="2784475"/>
              <a:chExt cx="2970213" cy="2109788"/>
            </a:xfrm>
          </p:grpSpPr>
          <p:sp>
            <p:nvSpPr>
              <p:cNvPr id="47" name="Ellipse 46"/>
              <p:cNvSpPr/>
              <p:nvPr/>
            </p:nvSpPr>
            <p:spPr>
              <a:xfrm rot="20400000">
                <a:off x="1354618" y="2783638"/>
                <a:ext cx="1690680" cy="1690911"/>
              </a:xfrm>
              <a:prstGeom prst="ellipse">
                <a:avLst/>
              </a:prstGeom>
              <a:solidFill>
                <a:srgbClr val="591A6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8" name="Rectangle 4"/>
              <p:cNvSpPr/>
              <p:nvPr/>
            </p:nvSpPr>
            <p:spPr>
              <a:xfrm rot="1020000">
                <a:off x="2647491" y="3450741"/>
                <a:ext cx="1676962" cy="900334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591A6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9" name="Rectangle 4"/>
              <p:cNvSpPr/>
              <p:nvPr/>
            </p:nvSpPr>
            <p:spPr>
              <a:xfrm rot="1980000" flipV="1">
                <a:off x="2390288" y="3994371"/>
                <a:ext cx="1676962" cy="900332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591A6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3" name="Groupe 11"/>
            <p:cNvGrpSpPr>
              <a:grpSpLocks/>
            </p:cNvGrpSpPr>
            <p:nvPr/>
          </p:nvGrpSpPr>
          <p:grpSpPr bwMode="auto">
            <a:xfrm rot="1200000">
              <a:off x="4832350" y="2547938"/>
              <a:ext cx="2801938" cy="2801937"/>
              <a:chOff x="4579521" y="1958202"/>
              <a:chExt cx="2800712" cy="2801295"/>
            </a:xfrm>
          </p:grpSpPr>
          <p:sp>
            <p:nvSpPr>
              <p:cNvPr id="44" name="Ellipse 43"/>
              <p:cNvSpPr/>
              <p:nvPr/>
            </p:nvSpPr>
            <p:spPr>
              <a:xfrm flipH="1">
                <a:off x="5682939" y="1956374"/>
                <a:ext cx="1691653" cy="1692237"/>
              </a:xfrm>
              <a:prstGeom prst="ellipse">
                <a:avLst/>
              </a:prstGeom>
              <a:solidFill>
                <a:srgbClr val="B43C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5" name="Rectangle 4"/>
              <p:cNvSpPr/>
              <p:nvPr/>
            </p:nvSpPr>
            <p:spPr>
              <a:xfrm rot="19380000" flipH="1">
                <a:off x="4579661" y="3046987"/>
                <a:ext cx="1676228" cy="898412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43C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6" name="Rectangle 4"/>
              <p:cNvSpPr/>
              <p:nvPr/>
            </p:nvSpPr>
            <p:spPr>
              <a:xfrm rot="18420000" flipH="1" flipV="1">
                <a:off x="5001020" y="3468101"/>
                <a:ext cx="1678521" cy="899816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43C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4" name="Groupe 2"/>
            <p:cNvGrpSpPr>
              <a:grpSpLocks/>
            </p:cNvGrpSpPr>
            <p:nvPr/>
          </p:nvGrpSpPr>
          <p:grpSpPr bwMode="auto">
            <a:xfrm rot="-120000">
              <a:off x="4332288" y="1435100"/>
              <a:ext cx="2114550" cy="2973388"/>
              <a:chOff x="4307837" y="1435120"/>
              <a:chExt cx="2114550" cy="2973388"/>
            </a:xfrm>
          </p:grpSpPr>
          <p:sp>
            <p:nvSpPr>
              <p:cNvPr id="36" name="Ellipse 35"/>
              <p:cNvSpPr/>
              <p:nvPr/>
            </p:nvSpPr>
            <p:spPr>
              <a:xfrm rot="4200000">
                <a:off x="4727433" y="1432608"/>
                <a:ext cx="1692626" cy="1690680"/>
              </a:xfrm>
              <a:prstGeom prst="ellipse">
                <a:avLst/>
              </a:prstGeom>
              <a:solidFill>
                <a:srgbClr val="8C28A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7" name="Rectangle 4"/>
              <p:cNvSpPr/>
              <p:nvPr/>
            </p:nvSpPr>
            <p:spPr>
              <a:xfrm rot="6420000">
                <a:off x="4460162" y="3118971"/>
                <a:ext cx="1678907" cy="900209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8C28A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8" name="Rectangle 4"/>
              <p:cNvSpPr/>
              <p:nvPr/>
            </p:nvSpPr>
            <p:spPr>
              <a:xfrm rot="7380000" flipV="1">
                <a:off x="3917575" y="2860614"/>
                <a:ext cx="1677192" cy="900209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8C28A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5" name="Groupe 18"/>
            <p:cNvGrpSpPr>
              <a:grpSpLocks/>
            </p:cNvGrpSpPr>
            <p:nvPr/>
          </p:nvGrpSpPr>
          <p:grpSpPr bwMode="auto">
            <a:xfrm rot="9000000">
              <a:off x="5014913" y="3906838"/>
              <a:ext cx="2800350" cy="2806700"/>
              <a:chOff x="-946284" y="1066643"/>
              <a:chExt cx="2800712" cy="2807119"/>
            </a:xfrm>
          </p:grpSpPr>
          <p:sp>
            <p:nvSpPr>
              <p:cNvPr id="33" name="Ellipse 32"/>
              <p:cNvSpPr/>
              <p:nvPr/>
            </p:nvSpPr>
            <p:spPr>
              <a:xfrm>
                <a:off x="-945407" y="1072978"/>
                <a:ext cx="1692612" cy="1692878"/>
              </a:xfrm>
              <a:prstGeom prst="ellipse">
                <a:avLst/>
              </a:prstGeom>
              <a:solidFill>
                <a:srgbClr val="BF5B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4" name="Rectangle 4"/>
              <p:cNvSpPr/>
              <p:nvPr/>
            </p:nvSpPr>
            <p:spPr>
              <a:xfrm rot="2220000">
                <a:off x="179786" y="2163346"/>
                <a:ext cx="1675464" cy="898752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F5B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5" name="Rectangle 4"/>
              <p:cNvSpPr/>
              <p:nvPr/>
            </p:nvSpPr>
            <p:spPr>
              <a:xfrm rot="3180000" flipV="1">
                <a:off x="-248314" y="2591777"/>
                <a:ext cx="1675726" cy="900327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F5B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6" name="Groupe 1"/>
            <p:cNvGrpSpPr>
              <a:grpSpLocks/>
            </p:cNvGrpSpPr>
            <p:nvPr/>
          </p:nvGrpSpPr>
          <p:grpSpPr bwMode="auto">
            <a:xfrm>
              <a:off x="1190625" y="4443413"/>
              <a:ext cx="3003550" cy="1912937"/>
              <a:chOff x="1119188" y="4443413"/>
              <a:chExt cx="3003550" cy="1912937"/>
            </a:xfrm>
          </p:grpSpPr>
          <p:sp>
            <p:nvSpPr>
              <p:cNvPr id="30" name="Ellipse 29"/>
              <p:cNvSpPr/>
              <p:nvPr/>
            </p:nvSpPr>
            <p:spPr bwMode="auto">
              <a:xfrm rot="18000000">
                <a:off x="1119600" y="4664324"/>
                <a:ext cx="1692626" cy="1692394"/>
              </a:xfrm>
              <a:prstGeom prst="ellipse">
                <a:avLst/>
              </a:prstGeom>
              <a:solidFill>
                <a:srgbClr val="4514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1" name="Rectangle 4"/>
              <p:cNvSpPr/>
              <p:nvPr/>
            </p:nvSpPr>
            <p:spPr bwMode="auto">
              <a:xfrm rot="20220000">
                <a:off x="2294275" y="4442984"/>
                <a:ext cx="1675247" cy="900334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4514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2" name="Rectangle 4"/>
              <p:cNvSpPr/>
              <p:nvPr/>
            </p:nvSpPr>
            <p:spPr bwMode="auto">
              <a:xfrm rot="21180000" flipV="1">
                <a:off x="2445167" y="5024343"/>
                <a:ext cx="1676962" cy="900333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4514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sp>
          <p:nvSpPr>
            <p:cNvPr id="17" name="Ellipse 16"/>
            <p:cNvSpPr/>
            <p:nvPr/>
          </p:nvSpPr>
          <p:spPr>
            <a:xfrm>
              <a:off x="3205908" y="3336861"/>
              <a:ext cx="2695485" cy="2695854"/>
            </a:xfrm>
            <a:prstGeom prst="ellipse">
              <a:avLst/>
            </a:pr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Ellipse 17"/>
            <p:cNvSpPr/>
            <p:nvPr/>
          </p:nvSpPr>
          <p:spPr>
            <a:xfrm>
              <a:off x="3324220" y="3450046"/>
              <a:ext cx="2465717" cy="24643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9" name="Arc 18"/>
            <p:cNvSpPr/>
            <p:nvPr/>
          </p:nvSpPr>
          <p:spPr>
            <a:xfrm rot="16860000">
              <a:off x="729825" y="4295540"/>
              <a:ext cx="1136991" cy="570991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0" name="Arc 19"/>
            <p:cNvSpPr/>
            <p:nvPr/>
          </p:nvSpPr>
          <p:spPr>
            <a:xfrm rot="18720000">
              <a:off x="1628318" y="2256501"/>
              <a:ext cx="1136992" cy="570991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1" name="Arc 20"/>
            <p:cNvSpPr/>
            <p:nvPr/>
          </p:nvSpPr>
          <p:spPr>
            <a:xfrm rot="3240000">
              <a:off x="6256255" y="2062714"/>
              <a:ext cx="1136991" cy="570990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2" name="Arc 21"/>
            <p:cNvSpPr/>
            <p:nvPr/>
          </p:nvSpPr>
          <p:spPr>
            <a:xfrm rot="4980000">
              <a:off x="7221622" y="4124048"/>
              <a:ext cx="1136991" cy="570991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462072" y="2873833"/>
              <a:ext cx="1474629" cy="1476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299178" y="4779108"/>
              <a:ext cx="1476343" cy="1474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5" name="Ellipse 24"/>
            <p:cNvSpPr/>
            <p:nvPr/>
          </p:nvSpPr>
          <p:spPr>
            <a:xfrm>
              <a:off x="6431230" y="4779108"/>
              <a:ext cx="1474629" cy="1474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6" name="Ellipse 25"/>
            <p:cNvSpPr/>
            <p:nvPr/>
          </p:nvSpPr>
          <p:spPr>
            <a:xfrm>
              <a:off x="6204891" y="2878977"/>
              <a:ext cx="1476344" cy="1474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833820" y="1532766"/>
              <a:ext cx="1476344" cy="14731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8" name="Ellipse 27"/>
            <p:cNvSpPr/>
            <p:nvPr/>
          </p:nvSpPr>
          <p:spPr>
            <a:xfrm>
              <a:off x="4845146" y="1532766"/>
              <a:ext cx="1474629" cy="14731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9" name="Arc 28"/>
            <p:cNvSpPr/>
            <p:nvPr/>
          </p:nvSpPr>
          <p:spPr>
            <a:xfrm rot="21480000">
              <a:off x="3975801" y="1265238"/>
              <a:ext cx="1135121" cy="571068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9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1529100" y="2836914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389687" y="3556281"/>
            <a:ext cx="2096713" cy="16844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907806" y="2836914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6144825" y="4587161"/>
            <a:ext cx="1418821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1378788" y="4581641"/>
            <a:ext cx="1440990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8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2786228" y="1586048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9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>
            <a:off x="4679196" y="1586048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5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2447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4 avantages de GS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7"/>
          <p:cNvSpPr>
            <a:spLocks noChangeArrowheads="1"/>
          </p:cNvSpPr>
          <p:nvPr/>
        </p:nvSpPr>
        <p:spPr bwMode="auto">
          <a:xfrm>
            <a:off x="2544763" y="1547201"/>
            <a:ext cx="4046537" cy="4068763"/>
          </a:xfrm>
          <a:prstGeom prst="ellipse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fr-FR" altLang="fr-F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Ellipse 8"/>
          <p:cNvSpPr>
            <a:spLocks noChangeArrowheads="1"/>
          </p:cNvSpPr>
          <p:nvPr/>
        </p:nvSpPr>
        <p:spPr bwMode="auto">
          <a:xfrm>
            <a:off x="2620963" y="1623401"/>
            <a:ext cx="3902075" cy="3900488"/>
          </a:xfrm>
          <a:prstGeom prst="ellipse">
            <a:avLst/>
          </a:prstGeom>
          <a:solidFill>
            <a:srgbClr val="FFFFFF"/>
          </a:solidFill>
          <a:ln w="25400" algn="ctr">
            <a:solidFill>
              <a:srgbClr val="A6A6A6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fr-FR" altLang="fr-F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Ellipse 1"/>
          <p:cNvSpPr/>
          <p:nvPr/>
        </p:nvSpPr>
        <p:spPr>
          <a:xfrm>
            <a:off x="2103438" y="1093176"/>
            <a:ext cx="2116137" cy="2087563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" name="Ellipse 1"/>
          <p:cNvSpPr/>
          <p:nvPr/>
        </p:nvSpPr>
        <p:spPr>
          <a:xfrm rot="5400000">
            <a:off x="4919663" y="1107463"/>
            <a:ext cx="2114550" cy="2085975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" name="Ellipse 1"/>
          <p:cNvSpPr/>
          <p:nvPr/>
        </p:nvSpPr>
        <p:spPr>
          <a:xfrm rot="10800000">
            <a:off x="4905375" y="3915751"/>
            <a:ext cx="2114550" cy="2085975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" name="Ellipse 1"/>
          <p:cNvSpPr/>
          <p:nvPr/>
        </p:nvSpPr>
        <p:spPr>
          <a:xfrm rot="16200000">
            <a:off x="2089944" y="3900670"/>
            <a:ext cx="2114550" cy="2087562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" name="Arc 12"/>
          <p:cNvSpPr/>
          <p:nvPr/>
        </p:nvSpPr>
        <p:spPr>
          <a:xfrm rot="300748">
            <a:off x="3894138" y="2633051"/>
            <a:ext cx="1582737" cy="1441450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Arc 13"/>
          <p:cNvSpPr/>
          <p:nvPr/>
        </p:nvSpPr>
        <p:spPr>
          <a:xfrm rot="5400000">
            <a:off x="3963988" y="2948964"/>
            <a:ext cx="1558925" cy="1470025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Arc 14"/>
          <p:cNvSpPr/>
          <p:nvPr/>
        </p:nvSpPr>
        <p:spPr>
          <a:xfrm rot="10800000">
            <a:off x="3635375" y="2917214"/>
            <a:ext cx="1582738" cy="1546225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Arc 15"/>
          <p:cNvSpPr/>
          <p:nvPr/>
        </p:nvSpPr>
        <p:spPr>
          <a:xfrm rot="16200000">
            <a:off x="3635375" y="2636226"/>
            <a:ext cx="1582738" cy="1582738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1"/>
          </p:nvPr>
        </p:nvSpPr>
        <p:spPr bwMode="auto">
          <a:xfrm>
            <a:off x="2141314" y="1189344"/>
            <a:ext cx="1944216" cy="180019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9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5046746" y="1189344"/>
            <a:ext cx="1944216" cy="180019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141314" y="4069664"/>
            <a:ext cx="1944216" cy="187220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046746" y="4069664"/>
            <a:ext cx="1944216" cy="187220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912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8 chiffres clés de 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931997" y="1035264"/>
            <a:ext cx="5013846" cy="4909479"/>
            <a:chOff x="1570038" y="751769"/>
            <a:chExt cx="5643562" cy="5526087"/>
          </a:xfrm>
        </p:grpSpPr>
        <p:sp>
          <p:nvSpPr>
            <p:cNvPr id="11" name="Ellipse 7"/>
            <p:cNvSpPr>
              <a:spLocks noChangeArrowheads="1"/>
            </p:cNvSpPr>
            <p:nvPr userDrawn="1"/>
          </p:nvSpPr>
          <p:spPr bwMode="auto">
            <a:xfrm>
              <a:off x="3108325" y="2199569"/>
              <a:ext cx="2590800" cy="2590800"/>
            </a:xfrm>
            <a:prstGeom prst="ellipse">
              <a:avLst/>
            </a:pr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2" name="Larme 10"/>
            <p:cNvSpPr/>
            <p:nvPr userDrawn="1"/>
          </p:nvSpPr>
          <p:spPr>
            <a:xfrm rot="10920000" flipH="1">
              <a:off x="2185988" y="1270881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591A6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3" name="Larme 10"/>
            <p:cNvSpPr/>
            <p:nvPr userDrawn="1"/>
          </p:nvSpPr>
          <p:spPr>
            <a:xfrm rot="18960167" flipH="1">
              <a:off x="5429250" y="2626606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CC7BD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4" name="Larme 10"/>
            <p:cNvSpPr/>
            <p:nvPr userDrawn="1"/>
          </p:nvSpPr>
          <p:spPr>
            <a:xfrm rot="180000" flipH="1">
              <a:off x="4843463" y="3966456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BF5BD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5" name="Larme 10"/>
            <p:cNvSpPr/>
            <p:nvPr userDrawn="1"/>
          </p:nvSpPr>
          <p:spPr>
            <a:xfrm rot="8039833">
              <a:off x="3532188" y="775581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6" name="Larme 10"/>
            <p:cNvSpPr/>
            <p:nvPr userDrawn="1"/>
          </p:nvSpPr>
          <p:spPr>
            <a:xfrm rot="10740000">
              <a:off x="4906963" y="1270881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DBA6E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Larme 10"/>
            <p:cNvSpPr/>
            <p:nvPr userDrawn="1"/>
          </p:nvSpPr>
          <p:spPr>
            <a:xfrm rot="2639833">
              <a:off x="1570038" y="2626606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Larme 10"/>
            <p:cNvSpPr/>
            <p:nvPr userDrawn="1"/>
          </p:nvSpPr>
          <p:spPr>
            <a:xfrm rot="21300000">
              <a:off x="2219325" y="3966456"/>
              <a:ext cx="1782763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8C28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9" name="Larme 10"/>
            <p:cNvSpPr/>
            <p:nvPr userDrawn="1"/>
          </p:nvSpPr>
          <p:spPr>
            <a:xfrm rot="18840000">
              <a:off x="3532982" y="4518112"/>
              <a:ext cx="1782762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0" name="Ellipse 16"/>
            <p:cNvSpPr>
              <a:spLocks noChangeArrowheads="1"/>
            </p:cNvSpPr>
            <p:nvPr userDrawn="1"/>
          </p:nvSpPr>
          <p:spPr bwMode="auto">
            <a:xfrm>
              <a:off x="3886200" y="85336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Ellipse 17"/>
            <p:cNvSpPr>
              <a:spLocks noChangeArrowheads="1"/>
            </p:cNvSpPr>
            <p:nvPr userDrawn="1"/>
          </p:nvSpPr>
          <p:spPr bwMode="auto">
            <a:xfrm>
              <a:off x="2339975" y="1426456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Ellipse 18"/>
            <p:cNvSpPr>
              <a:spLocks noChangeArrowheads="1"/>
            </p:cNvSpPr>
            <p:nvPr userDrawn="1"/>
          </p:nvSpPr>
          <p:spPr bwMode="auto">
            <a:xfrm>
              <a:off x="5403850" y="1426456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3" name="Ellipse 19"/>
            <p:cNvSpPr>
              <a:spLocks noChangeArrowheads="1"/>
            </p:cNvSpPr>
            <p:nvPr userDrawn="1"/>
          </p:nvSpPr>
          <p:spPr bwMode="auto">
            <a:xfrm>
              <a:off x="5991225" y="291711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4" name="Ellipse 20"/>
            <p:cNvSpPr>
              <a:spLocks noChangeArrowheads="1"/>
            </p:cNvSpPr>
            <p:nvPr userDrawn="1"/>
          </p:nvSpPr>
          <p:spPr bwMode="auto">
            <a:xfrm>
              <a:off x="1665288" y="291711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5" name="Ellipse 21"/>
            <p:cNvSpPr>
              <a:spLocks noChangeArrowheads="1"/>
            </p:cNvSpPr>
            <p:nvPr userDrawn="1"/>
          </p:nvSpPr>
          <p:spPr bwMode="auto">
            <a:xfrm>
              <a:off x="2373313" y="444746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6" name="Ellipse 22"/>
            <p:cNvSpPr>
              <a:spLocks noChangeArrowheads="1"/>
            </p:cNvSpPr>
            <p:nvPr userDrawn="1"/>
          </p:nvSpPr>
          <p:spPr bwMode="auto">
            <a:xfrm>
              <a:off x="5338763" y="4430006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7" name="Ellipse 23"/>
            <p:cNvSpPr>
              <a:spLocks noChangeArrowheads="1"/>
            </p:cNvSpPr>
            <p:nvPr userDrawn="1"/>
          </p:nvSpPr>
          <p:spPr bwMode="auto">
            <a:xfrm>
              <a:off x="3849688" y="5047544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8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801609" y="2919437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algn="ctr">
              <a:defRPr lang="fr-FR" sz="1100" dirty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5237555" y="4273355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3910092" y="4812134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2588076" y="4273355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>
            <a:off x="3950860" y="1085190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algn="ctr">
              <a:defRPr lang="fr-FR" sz="1100" dirty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30"/>
          </p:nvPr>
        </p:nvSpPr>
        <p:spPr bwMode="auto">
          <a:xfrm>
            <a:off x="2545614" y="1592958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5" name="Espace réservé du texte 11"/>
          <p:cNvSpPr>
            <a:spLocks noGrp="1"/>
          </p:cNvSpPr>
          <p:nvPr>
            <p:ph type="body" sz="quarter" idx="31"/>
          </p:nvPr>
        </p:nvSpPr>
        <p:spPr bwMode="auto">
          <a:xfrm>
            <a:off x="1937740" y="2919437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6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>
            <a:off x="5278484" y="1592958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algn="ctr">
              <a:defRPr lang="fr-FR" sz="1100" dirty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0880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8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7"/>
          <p:cNvGrpSpPr>
            <a:grpSpLocks/>
          </p:cNvGrpSpPr>
          <p:nvPr/>
        </p:nvGrpSpPr>
        <p:grpSpPr bwMode="auto">
          <a:xfrm>
            <a:off x="1900648" y="765616"/>
            <a:ext cx="5328827" cy="5365750"/>
            <a:chOff x="1900648" y="928688"/>
            <a:chExt cx="5328827" cy="5365750"/>
          </a:xfrm>
        </p:grpSpPr>
        <p:sp>
          <p:nvSpPr>
            <p:cNvPr id="12" name="Forme libre 11"/>
            <p:cNvSpPr/>
            <p:nvPr/>
          </p:nvSpPr>
          <p:spPr>
            <a:xfrm>
              <a:off x="2900363" y="1179513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3" name="Forme libre 12"/>
            <p:cNvSpPr/>
            <p:nvPr/>
          </p:nvSpPr>
          <p:spPr>
            <a:xfrm rot="2715226">
              <a:off x="4447382" y="1067594"/>
              <a:ext cx="1636712" cy="1358900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4" name="Forme libre 13"/>
            <p:cNvSpPr/>
            <p:nvPr/>
          </p:nvSpPr>
          <p:spPr>
            <a:xfrm rot="18947031">
              <a:off x="1900648" y="2346325"/>
              <a:ext cx="1636712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5" name="Forme libre 14"/>
            <p:cNvSpPr/>
            <p:nvPr/>
          </p:nvSpPr>
          <p:spPr>
            <a:xfrm rot="5400000">
              <a:off x="5621337" y="2106613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6" name="Forme libre 15"/>
            <p:cNvSpPr/>
            <p:nvPr/>
          </p:nvSpPr>
          <p:spPr>
            <a:xfrm rot="8076087">
              <a:off x="5730082" y="3636169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Forme libre 16"/>
            <p:cNvSpPr/>
            <p:nvPr/>
          </p:nvSpPr>
          <p:spPr>
            <a:xfrm rot="10800000">
              <a:off x="4727575" y="4835525"/>
              <a:ext cx="1638300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Forme libre 17"/>
            <p:cNvSpPr/>
            <p:nvPr/>
          </p:nvSpPr>
          <p:spPr>
            <a:xfrm rot="13468855">
              <a:off x="3165475" y="4933950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9" name="Forme libre 18"/>
            <p:cNvSpPr/>
            <p:nvPr/>
          </p:nvSpPr>
          <p:spPr>
            <a:xfrm rot="16200000">
              <a:off x="1984375" y="3878263"/>
              <a:ext cx="1636713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1"/>
          </p:nvPr>
        </p:nvSpPr>
        <p:spPr bwMode="auto">
          <a:xfrm>
            <a:off x="3131840" y="117836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4788024" y="117769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5940152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267744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195736" y="3769984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3221320" y="4922112"/>
            <a:ext cx="122413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822968" y="4922112"/>
            <a:ext cx="126120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5940152" y="3841992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7223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8 points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7"/>
          <p:cNvGrpSpPr>
            <a:grpSpLocks/>
          </p:cNvGrpSpPr>
          <p:nvPr/>
        </p:nvGrpSpPr>
        <p:grpSpPr bwMode="auto">
          <a:xfrm>
            <a:off x="1900648" y="765616"/>
            <a:ext cx="5328827" cy="5365750"/>
            <a:chOff x="1900648" y="928688"/>
            <a:chExt cx="5328827" cy="5365750"/>
          </a:xfrm>
        </p:grpSpPr>
        <p:sp>
          <p:nvSpPr>
            <p:cNvPr id="12" name="Forme libre 11"/>
            <p:cNvSpPr/>
            <p:nvPr/>
          </p:nvSpPr>
          <p:spPr>
            <a:xfrm>
              <a:off x="2900363" y="1179513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3" name="Forme libre 12"/>
            <p:cNvSpPr/>
            <p:nvPr/>
          </p:nvSpPr>
          <p:spPr>
            <a:xfrm rot="2715226">
              <a:off x="4447382" y="1067594"/>
              <a:ext cx="1636712" cy="1358900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4" name="Forme libre 13"/>
            <p:cNvSpPr/>
            <p:nvPr/>
          </p:nvSpPr>
          <p:spPr>
            <a:xfrm rot="18947031">
              <a:off x="1900648" y="2346325"/>
              <a:ext cx="1636712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5" name="Forme libre 14"/>
            <p:cNvSpPr/>
            <p:nvPr/>
          </p:nvSpPr>
          <p:spPr>
            <a:xfrm rot="5400000">
              <a:off x="5621337" y="2106613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6" name="Forme libre 15"/>
            <p:cNvSpPr/>
            <p:nvPr/>
          </p:nvSpPr>
          <p:spPr>
            <a:xfrm rot="8076087">
              <a:off x="5730082" y="3636169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Forme libre 16"/>
            <p:cNvSpPr/>
            <p:nvPr/>
          </p:nvSpPr>
          <p:spPr>
            <a:xfrm rot="10800000">
              <a:off x="4727575" y="4835525"/>
              <a:ext cx="1638300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Forme libre 17"/>
            <p:cNvSpPr/>
            <p:nvPr/>
          </p:nvSpPr>
          <p:spPr>
            <a:xfrm rot="13468855">
              <a:off x="3165475" y="4933950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9" name="Forme libre 18"/>
            <p:cNvSpPr/>
            <p:nvPr/>
          </p:nvSpPr>
          <p:spPr>
            <a:xfrm rot="16200000">
              <a:off x="1984375" y="3878263"/>
              <a:ext cx="1636713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1"/>
          </p:nvPr>
        </p:nvSpPr>
        <p:spPr bwMode="auto">
          <a:xfrm>
            <a:off x="3131840" y="117836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4788024" y="117769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5940152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267744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195736" y="3769984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3221320" y="4922112"/>
            <a:ext cx="122413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822968" y="4922112"/>
            <a:ext cx="126120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5940152" y="3841992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771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 dé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èche à quatre pointes 2"/>
          <p:cNvSpPr/>
          <p:nvPr/>
        </p:nvSpPr>
        <p:spPr>
          <a:xfrm>
            <a:off x="755576" y="1212318"/>
            <a:ext cx="7624390" cy="5241018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16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207832" y="1737879"/>
            <a:ext cx="3198813" cy="19065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799346" y="1756193"/>
            <a:ext cx="3198813" cy="190658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162365" y="3915988"/>
            <a:ext cx="3198813" cy="190658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739365" y="3934302"/>
            <a:ext cx="3198813" cy="1906587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5067598" y="1212318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TITRE 2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1466776" y="1195807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ITRE 1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4996012" y="5882073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dirty="0"/>
              <a:t>TITRE 4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1395190" y="5865562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TITRE 3</a:t>
            </a:r>
          </a:p>
        </p:txBody>
      </p:sp>
    </p:spTree>
    <p:extLst>
      <p:ext uri="{BB962C8B-B14F-4D97-AF65-F5344CB8AC3E}">
        <p14:creationId xmlns:p14="http://schemas.microsoft.com/office/powerpoint/2010/main" val="14996336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9 cases puzz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e libre 11"/>
          <p:cNvSpPr/>
          <p:nvPr/>
        </p:nvSpPr>
        <p:spPr>
          <a:xfrm>
            <a:off x="3382256" y="1089570"/>
            <a:ext cx="2303463" cy="1936750"/>
          </a:xfrm>
          <a:custGeom>
            <a:avLst/>
            <a:gdLst>
              <a:gd name="connsiteX0" fmla="*/ 0 w 1930400"/>
              <a:gd name="connsiteY0" fmla="*/ 0 h 1693333"/>
              <a:gd name="connsiteX1" fmla="*/ 1727200 w 1930400"/>
              <a:gd name="connsiteY1" fmla="*/ 0 h 1693333"/>
              <a:gd name="connsiteX2" fmla="*/ 1727200 w 1930400"/>
              <a:gd name="connsiteY2" fmla="*/ 194733 h 1693333"/>
              <a:gd name="connsiteX3" fmla="*/ 1930400 w 1930400"/>
              <a:gd name="connsiteY3" fmla="*/ 397933 h 1693333"/>
              <a:gd name="connsiteX4" fmla="*/ 1735667 w 1930400"/>
              <a:gd name="connsiteY4" fmla="*/ 592666 h 1693333"/>
              <a:gd name="connsiteX5" fmla="*/ 1735667 w 1930400"/>
              <a:gd name="connsiteY5" fmla="*/ 1693333 h 1693333"/>
              <a:gd name="connsiteX6" fmla="*/ 16933 w 1930400"/>
              <a:gd name="connsiteY6" fmla="*/ 1693333 h 1693333"/>
              <a:gd name="connsiteX7" fmla="*/ 0 w 1930400"/>
              <a:gd name="connsiteY7" fmla="*/ 0 h 1693333"/>
              <a:gd name="connsiteX0" fmla="*/ 1735667 w 1930400"/>
              <a:gd name="connsiteY0" fmla="*/ 1693333 h 1784773"/>
              <a:gd name="connsiteX1" fmla="*/ 16933 w 1930400"/>
              <a:gd name="connsiteY1" fmla="*/ 1693333 h 1784773"/>
              <a:gd name="connsiteX2" fmla="*/ 0 w 1930400"/>
              <a:gd name="connsiteY2" fmla="*/ 0 h 1784773"/>
              <a:gd name="connsiteX3" fmla="*/ 1727200 w 1930400"/>
              <a:gd name="connsiteY3" fmla="*/ 0 h 1784773"/>
              <a:gd name="connsiteX4" fmla="*/ 1727200 w 1930400"/>
              <a:gd name="connsiteY4" fmla="*/ 194733 h 1784773"/>
              <a:gd name="connsiteX5" fmla="*/ 1930400 w 1930400"/>
              <a:gd name="connsiteY5" fmla="*/ 397933 h 1784773"/>
              <a:gd name="connsiteX6" fmla="*/ 1735667 w 1930400"/>
              <a:gd name="connsiteY6" fmla="*/ 592666 h 1784773"/>
              <a:gd name="connsiteX7" fmla="*/ 1827107 w 1930400"/>
              <a:gd name="connsiteY7" fmla="*/ 1784773 h 1784773"/>
              <a:gd name="connsiteX0" fmla="*/ 647095 w 1930400"/>
              <a:gd name="connsiteY0" fmla="*/ 1693333 h 1784773"/>
              <a:gd name="connsiteX1" fmla="*/ 16933 w 1930400"/>
              <a:gd name="connsiteY1" fmla="*/ 1693333 h 1784773"/>
              <a:gd name="connsiteX2" fmla="*/ 0 w 1930400"/>
              <a:gd name="connsiteY2" fmla="*/ 0 h 1784773"/>
              <a:gd name="connsiteX3" fmla="*/ 1727200 w 1930400"/>
              <a:gd name="connsiteY3" fmla="*/ 0 h 1784773"/>
              <a:gd name="connsiteX4" fmla="*/ 1727200 w 1930400"/>
              <a:gd name="connsiteY4" fmla="*/ 194733 h 1784773"/>
              <a:gd name="connsiteX5" fmla="*/ 1930400 w 1930400"/>
              <a:gd name="connsiteY5" fmla="*/ 397933 h 1784773"/>
              <a:gd name="connsiteX6" fmla="*/ 1735667 w 1930400"/>
              <a:gd name="connsiteY6" fmla="*/ 592666 h 1784773"/>
              <a:gd name="connsiteX7" fmla="*/ 1827107 w 1930400"/>
              <a:gd name="connsiteY7" fmla="*/ 1784773 h 1784773"/>
              <a:gd name="connsiteX0" fmla="*/ 647095 w 1930400"/>
              <a:gd name="connsiteY0" fmla="*/ 1693333 h 1693333"/>
              <a:gd name="connsiteX1" fmla="*/ 16933 w 1930400"/>
              <a:gd name="connsiteY1" fmla="*/ 1693333 h 1693333"/>
              <a:gd name="connsiteX2" fmla="*/ 0 w 1930400"/>
              <a:gd name="connsiteY2" fmla="*/ 0 h 1693333"/>
              <a:gd name="connsiteX3" fmla="*/ 1727200 w 1930400"/>
              <a:gd name="connsiteY3" fmla="*/ 0 h 1693333"/>
              <a:gd name="connsiteX4" fmla="*/ 1727200 w 1930400"/>
              <a:gd name="connsiteY4" fmla="*/ 194733 h 1693333"/>
              <a:gd name="connsiteX5" fmla="*/ 1930400 w 1930400"/>
              <a:gd name="connsiteY5" fmla="*/ 397933 h 1693333"/>
              <a:gd name="connsiteX6" fmla="*/ 1735667 w 1930400"/>
              <a:gd name="connsiteY6" fmla="*/ 592666 h 1693333"/>
              <a:gd name="connsiteX7" fmla="*/ 1718250 w 1930400"/>
              <a:gd name="connsiteY7" fmla="*/ 1692245 h 1693333"/>
              <a:gd name="connsiteX0" fmla="*/ 647095 w 1930400"/>
              <a:gd name="connsiteY0" fmla="*/ 1693333 h 1708573"/>
              <a:gd name="connsiteX1" fmla="*/ 16933 w 1930400"/>
              <a:gd name="connsiteY1" fmla="*/ 1693333 h 1708573"/>
              <a:gd name="connsiteX2" fmla="*/ 0 w 1930400"/>
              <a:gd name="connsiteY2" fmla="*/ 0 h 1708573"/>
              <a:gd name="connsiteX3" fmla="*/ 1727200 w 1930400"/>
              <a:gd name="connsiteY3" fmla="*/ 0 h 1708573"/>
              <a:gd name="connsiteX4" fmla="*/ 1727200 w 1930400"/>
              <a:gd name="connsiteY4" fmla="*/ 194733 h 1708573"/>
              <a:gd name="connsiteX5" fmla="*/ 1930400 w 1930400"/>
              <a:gd name="connsiteY5" fmla="*/ 397933 h 1708573"/>
              <a:gd name="connsiteX6" fmla="*/ 1735667 w 1930400"/>
              <a:gd name="connsiteY6" fmla="*/ 592666 h 1708573"/>
              <a:gd name="connsiteX7" fmla="*/ 1729136 w 1930400"/>
              <a:gd name="connsiteY7" fmla="*/ 1708573 h 1708573"/>
              <a:gd name="connsiteX0" fmla="*/ 647095 w 1930400"/>
              <a:gd name="connsiteY0" fmla="*/ 1693333 h 1708573"/>
              <a:gd name="connsiteX1" fmla="*/ 637419 w 1930400"/>
              <a:gd name="connsiteY1" fmla="*/ 1683657 h 1708573"/>
              <a:gd name="connsiteX2" fmla="*/ 16933 w 1930400"/>
              <a:gd name="connsiteY2" fmla="*/ 1693333 h 1708573"/>
              <a:gd name="connsiteX3" fmla="*/ 0 w 1930400"/>
              <a:gd name="connsiteY3" fmla="*/ 0 h 1708573"/>
              <a:gd name="connsiteX4" fmla="*/ 1727200 w 1930400"/>
              <a:gd name="connsiteY4" fmla="*/ 0 h 1708573"/>
              <a:gd name="connsiteX5" fmla="*/ 1727200 w 1930400"/>
              <a:gd name="connsiteY5" fmla="*/ 194733 h 1708573"/>
              <a:gd name="connsiteX6" fmla="*/ 1930400 w 1930400"/>
              <a:gd name="connsiteY6" fmla="*/ 397933 h 1708573"/>
              <a:gd name="connsiteX7" fmla="*/ 1735667 w 1930400"/>
              <a:gd name="connsiteY7" fmla="*/ 592666 h 1708573"/>
              <a:gd name="connsiteX8" fmla="*/ 1729136 w 1930400"/>
              <a:gd name="connsiteY8" fmla="*/ 1708573 h 1708573"/>
              <a:gd name="connsiteX0" fmla="*/ 647095 w 1930400"/>
              <a:gd name="connsiteY0" fmla="*/ 1693333 h 1708573"/>
              <a:gd name="connsiteX1" fmla="*/ 501347 w 1930400"/>
              <a:gd name="connsiteY1" fmla="*/ 1694543 h 1708573"/>
              <a:gd name="connsiteX2" fmla="*/ 16933 w 1930400"/>
              <a:gd name="connsiteY2" fmla="*/ 1693333 h 1708573"/>
              <a:gd name="connsiteX3" fmla="*/ 0 w 1930400"/>
              <a:gd name="connsiteY3" fmla="*/ 0 h 1708573"/>
              <a:gd name="connsiteX4" fmla="*/ 1727200 w 1930400"/>
              <a:gd name="connsiteY4" fmla="*/ 0 h 1708573"/>
              <a:gd name="connsiteX5" fmla="*/ 1727200 w 1930400"/>
              <a:gd name="connsiteY5" fmla="*/ 194733 h 1708573"/>
              <a:gd name="connsiteX6" fmla="*/ 1930400 w 1930400"/>
              <a:gd name="connsiteY6" fmla="*/ 397933 h 1708573"/>
              <a:gd name="connsiteX7" fmla="*/ 1735667 w 1930400"/>
              <a:gd name="connsiteY7" fmla="*/ 592666 h 1708573"/>
              <a:gd name="connsiteX8" fmla="*/ 1729136 w 1930400"/>
              <a:gd name="connsiteY8" fmla="*/ 1708573 h 1708573"/>
              <a:gd name="connsiteX0" fmla="*/ 848481 w 1930400"/>
              <a:gd name="connsiteY0" fmla="*/ 1916490 h 1916490"/>
              <a:gd name="connsiteX1" fmla="*/ 501347 w 1930400"/>
              <a:gd name="connsiteY1" fmla="*/ 1694543 h 1916490"/>
              <a:gd name="connsiteX2" fmla="*/ 16933 w 1930400"/>
              <a:gd name="connsiteY2" fmla="*/ 1693333 h 1916490"/>
              <a:gd name="connsiteX3" fmla="*/ 0 w 1930400"/>
              <a:gd name="connsiteY3" fmla="*/ 0 h 1916490"/>
              <a:gd name="connsiteX4" fmla="*/ 1727200 w 1930400"/>
              <a:gd name="connsiteY4" fmla="*/ 0 h 1916490"/>
              <a:gd name="connsiteX5" fmla="*/ 1727200 w 1930400"/>
              <a:gd name="connsiteY5" fmla="*/ 194733 h 1916490"/>
              <a:gd name="connsiteX6" fmla="*/ 1930400 w 1930400"/>
              <a:gd name="connsiteY6" fmla="*/ 397933 h 1916490"/>
              <a:gd name="connsiteX7" fmla="*/ 1735667 w 1930400"/>
              <a:gd name="connsiteY7" fmla="*/ 592666 h 1916490"/>
              <a:gd name="connsiteX8" fmla="*/ 1729136 w 1930400"/>
              <a:gd name="connsiteY8" fmla="*/ 1708573 h 1916490"/>
              <a:gd name="connsiteX0" fmla="*/ 848481 w 1930400"/>
              <a:gd name="connsiteY0" fmla="*/ 1916490 h 1916490"/>
              <a:gd name="connsiteX1" fmla="*/ 637419 w 1930400"/>
              <a:gd name="connsiteY1" fmla="*/ 1694543 h 1916490"/>
              <a:gd name="connsiteX2" fmla="*/ 16933 w 1930400"/>
              <a:gd name="connsiteY2" fmla="*/ 1693333 h 1916490"/>
              <a:gd name="connsiteX3" fmla="*/ 0 w 1930400"/>
              <a:gd name="connsiteY3" fmla="*/ 0 h 1916490"/>
              <a:gd name="connsiteX4" fmla="*/ 1727200 w 1930400"/>
              <a:gd name="connsiteY4" fmla="*/ 0 h 1916490"/>
              <a:gd name="connsiteX5" fmla="*/ 1727200 w 1930400"/>
              <a:gd name="connsiteY5" fmla="*/ 194733 h 1916490"/>
              <a:gd name="connsiteX6" fmla="*/ 1930400 w 1930400"/>
              <a:gd name="connsiteY6" fmla="*/ 397933 h 1916490"/>
              <a:gd name="connsiteX7" fmla="*/ 1735667 w 1930400"/>
              <a:gd name="connsiteY7" fmla="*/ 592666 h 1916490"/>
              <a:gd name="connsiteX8" fmla="*/ 1729136 w 1930400"/>
              <a:gd name="connsiteY8" fmla="*/ 1708573 h 1916490"/>
              <a:gd name="connsiteX0" fmla="*/ 848481 w 1930400"/>
              <a:gd name="connsiteY0" fmla="*/ 1916490 h 1916490"/>
              <a:gd name="connsiteX1" fmla="*/ 838804 w 1930400"/>
              <a:gd name="connsiteY1" fmla="*/ 1912256 h 1916490"/>
              <a:gd name="connsiteX2" fmla="*/ 637419 w 1930400"/>
              <a:gd name="connsiteY2" fmla="*/ 1694543 h 1916490"/>
              <a:gd name="connsiteX3" fmla="*/ 16933 w 1930400"/>
              <a:gd name="connsiteY3" fmla="*/ 1693333 h 1916490"/>
              <a:gd name="connsiteX4" fmla="*/ 0 w 1930400"/>
              <a:gd name="connsiteY4" fmla="*/ 0 h 1916490"/>
              <a:gd name="connsiteX5" fmla="*/ 1727200 w 1930400"/>
              <a:gd name="connsiteY5" fmla="*/ 0 h 1916490"/>
              <a:gd name="connsiteX6" fmla="*/ 1727200 w 1930400"/>
              <a:gd name="connsiteY6" fmla="*/ 194733 h 1916490"/>
              <a:gd name="connsiteX7" fmla="*/ 1930400 w 1930400"/>
              <a:gd name="connsiteY7" fmla="*/ 397933 h 1916490"/>
              <a:gd name="connsiteX8" fmla="*/ 1735667 w 1930400"/>
              <a:gd name="connsiteY8" fmla="*/ 592666 h 1916490"/>
              <a:gd name="connsiteX9" fmla="*/ 1729136 w 1930400"/>
              <a:gd name="connsiteY9" fmla="*/ 1708573 h 1916490"/>
              <a:gd name="connsiteX0" fmla="*/ 848481 w 1930400"/>
              <a:gd name="connsiteY0" fmla="*/ 1916490 h 1916490"/>
              <a:gd name="connsiteX1" fmla="*/ 735390 w 1930400"/>
              <a:gd name="connsiteY1" fmla="*/ 1874156 h 1916490"/>
              <a:gd name="connsiteX2" fmla="*/ 637419 w 1930400"/>
              <a:gd name="connsiteY2" fmla="*/ 1694543 h 1916490"/>
              <a:gd name="connsiteX3" fmla="*/ 16933 w 1930400"/>
              <a:gd name="connsiteY3" fmla="*/ 1693333 h 1916490"/>
              <a:gd name="connsiteX4" fmla="*/ 0 w 1930400"/>
              <a:gd name="connsiteY4" fmla="*/ 0 h 1916490"/>
              <a:gd name="connsiteX5" fmla="*/ 1727200 w 1930400"/>
              <a:gd name="connsiteY5" fmla="*/ 0 h 1916490"/>
              <a:gd name="connsiteX6" fmla="*/ 1727200 w 1930400"/>
              <a:gd name="connsiteY6" fmla="*/ 194733 h 1916490"/>
              <a:gd name="connsiteX7" fmla="*/ 1930400 w 1930400"/>
              <a:gd name="connsiteY7" fmla="*/ 397933 h 1916490"/>
              <a:gd name="connsiteX8" fmla="*/ 1735667 w 1930400"/>
              <a:gd name="connsiteY8" fmla="*/ 592666 h 1916490"/>
              <a:gd name="connsiteX9" fmla="*/ 1729136 w 1930400"/>
              <a:gd name="connsiteY9" fmla="*/ 1708573 h 1916490"/>
              <a:gd name="connsiteX0" fmla="*/ 1077081 w 1930400"/>
              <a:gd name="connsiteY0" fmla="*/ 1693333 h 1874156"/>
              <a:gd name="connsiteX1" fmla="*/ 735390 w 1930400"/>
              <a:gd name="connsiteY1" fmla="*/ 1874156 h 1874156"/>
              <a:gd name="connsiteX2" fmla="*/ 637419 w 1930400"/>
              <a:gd name="connsiteY2" fmla="*/ 1694543 h 1874156"/>
              <a:gd name="connsiteX3" fmla="*/ 16933 w 1930400"/>
              <a:gd name="connsiteY3" fmla="*/ 1693333 h 1874156"/>
              <a:gd name="connsiteX4" fmla="*/ 0 w 1930400"/>
              <a:gd name="connsiteY4" fmla="*/ 0 h 1874156"/>
              <a:gd name="connsiteX5" fmla="*/ 1727200 w 1930400"/>
              <a:gd name="connsiteY5" fmla="*/ 0 h 1874156"/>
              <a:gd name="connsiteX6" fmla="*/ 1727200 w 1930400"/>
              <a:gd name="connsiteY6" fmla="*/ 194733 h 1874156"/>
              <a:gd name="connsiteX7" fmla="*/ 1930400 w 1930400"/>
              <a:gd name="connsiteY7" fmla="*/ 397933 h 1874156"/>
              <a:gd name="connsiteX8" fmla="*/ 1735667 w 1930400"/>
              <a:gd name="connsiteY8" fmla="*/ 592666 h 1874156"/>
              <a:gd name="connsiteX9" fmla="*/ 1729136 w 1930400"/>
              <a:gd name="connsiteY9" fmla="*/ 1708573 h 1874156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29136 w 1930400"/>
              <a:gd name="connsiteY9" fmla="*/ 1708573 h 1917699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29136 w 1930400"/>
              <a:gd name="connsiteY9" fmla="*/ 1708573 h 1917699"/>
              <a:gd name="connsiteX10" fmla="*/ 1077081 w 1930400"/>
              <a:gd name="connsiteY10" fmla="*/ 1693333 h 1917699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26314 w 1930400"/>
              <a:gd name="connsiteY9" fmla="*/ 1700106 h 1917699"/>
              <a:gd name="connsiteX10" fmla="*/ 1077081 w 1930400"/>
              <a:gd name="connsiteY10" fmla="*/ 1693333 h 1917699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31958 w 1930400"/>
              <a:gd name="connsiteY9" fmla="*/ 1694461 h 1917699"/>
              <a:gd name="connsiteX10" fmla="*/ 1077081 w 1930400"/>
              <a:gd name="connsiteY10" fmla="*/ 1693333 h 1917699"/>
              <a:gd name="connsiteX0" fmla="*/ 1077081 w 1930400"/>
              <a:gd name="connsiteY0" fmla="*/ 1701800 h 1926166"/>
              <a:gd name="connsiteX1" fmla="*/ 844247 w 1930400"/>
              <a:gd name="connsiteY1" fmla="*/ 1926166 h 1926166"/>
              <a:gd name="connsiteX2" fmla="*/ 637419 w 1930400"/>
              <a:gd name="connsiteY2" fmla="*/ 1703010 h 1926166"/>
              <a:gd name="connsiteX3" fmla="*/ 16933 w 1930400"/>
              <a:gd name="connsiteY3" fmla="*/ 1701800 h 1926166"/>
              <a:gd name="connsiteX4" fmla="*/ 0 w 1930400"/>
              <a:gd name="connsiteY4" fmla="*/ 8467 h 1926166"/>
              <a:gd name="connsiteX5" fmla="*/ 1735667 w 1930400"/>
              <a:gd name="connsiteY5" fmla="*/ 0 h 1926166"/>
              <a:gd name="connsiteX6" fmla="*/ 1727200 w 1930400"/>
              <a:gd name="connsiteY6" fmla="*/ 203200 h 1926166"/>
              <a:gd name="connsiteX7" fmla="*/ 1930400 w 1930400"/>
              <a:gd name="connsiteY7" fmla="*/ 406400 h 1926166"/>
              <a:gd name="connsiteX8" fmla="*/ 1735667 w 1930400"/>
              <a:gd name="connsiteY8" fmla="*/ 601133 h 1926166"/>
              <a:gd name="connsiteX9" fmla="*/ 1731958 w 1930400"/>
              <a:gd name="connsiteY9" fmla="*/ 1702928 h 1926166"/>
              <a:gd name="connsiteX10" fmla="*/ 1077081 w 1930400"/>
              <a:gd name="connsiteY10" fmla="*/ 1701800 h 1926166"/>
              <a:gd name="connsiteX0" fmla="*/ 1077081 w 1930400"/>
              <a:gd name="connsiteY0" fmla="*/ 1701800 h 1926166"/>
              <a:gd name="connsiteX1" fmla="*/ 844247 w 1930400"/>
              <a:gd name="connsiteY1" fmla="*/ 1926166 h 1926166"/>
              <a:gd name="connsiteX2" fmla="*/ 637419 w 1930400"/>
              <a:gd name="connsiteY2" fmla="*/ 1703010 h 1926166"/>
              <a:gd name="connsiteX3" fmla="*/ 16933 w 1930400"/>
              <a:gd name="connsiteY3" fmla="*/ 1701800 h 1926166"/>
              <a:gd name="connsiteX4" fmla="*/ 0 w 1930400"/>
              <a:gd name="connsiteY4" fmla="*/ 8467 h 1926166"/>
              <a:gd name="connsiteX5" fmla="*/ 1735667 w 1930400"/>
              <a:gd name="connsiteY5" fmla="*/ 0 h 1926166"/>
              <a:gd name="connsiteX6" fmla="*/ 1732844 w 1930400"/>
              <a:gd name="connsiteY6" fmla="*/ 211667 h 1926166"/>
              <a:gd name="connsiteX7" fmla="*/ 1930400 w 1930400"/>
              <a:gd name="connsiteY7" fmla="*/ 406400 h 1926166"/>
              <a:gd name="connsiteX8" fmla="*/ 1735667 w 1930400"/>
              <a:gd name="connsiteY8" fmla="*/ 601133 h 1926166"/>
              <a:gd name="connsiteX9" fmla="*/ 1731958 w 1930400"/>
              <a:gd name="connsiteY9" fmla="*/ 1702928 h 1926166"/>
              <a:gd name="connsiteX10" fmla="*/ 1077081 w 1930400"/>
              <a:gd name="connsiteY10" fmla="*/ 1701800 h 1926166"/>
              <a:gd name="connsiteX0" fmla="*/ 1062970 w 1916289"/>
              <a:gd name="connsiteY0" fmla="*/ 1701800 h 1926166"/>
              <a:gd name="connsiteX1" fmla="*/ 830136 w 1916289"/>
              <a:gd name="connsiteY1" fmla="*/ 1926166 h 1926166"/>
              <a:gd name="connsiteX2" fmla="*/ 623308 w 1916289"/>
              <a:gd name="connsiteY2" fmla="*/ 1703010 h 1926166"/>
              <a:gd name="connsiteX3" fmla="*/ 2822 w 1916289"/>
              <a:gd name="connsiteY3" fmla="*/ 1701800 h 1926166"/>
              <a:gd name="connsiteX4" fmla="*/ 0 w 1916289"/>
              <a:gd name="connsiteY4" fmla="*/ 5645 h 1926166"/>
              <a:gd name="connsiteX5" fmla="*/ 1721556 w 1916289"/>
              <a:gd name="connsiteY5" fmla="*/ 0 h 1926166"/>
              <a:gd name="connsiteX6" fmla="*/ 1718733 w 1916289"/>
              <a:gd name="connsiteY6" fmla="*/ 211667 h 1926166"/>
              <a:gd name="connsiteX7" fmla="*/ 1916289 w 1916289"/>
              <a:gd name="connsiteY7" fmla="*/ 406400 h 1926166"/>
              <a:gd name="connsiteX8" fmla="*/ 1721556 w 1916289"/>
              <a:gd name="connsiteY8" fmla="*/ 601133 h 1926166"/>
              <a:gd name="connsiteX9" fmla="*/ 1717847 w 1916289"/>
              <a:gd name="connsiteY9" fmla="*/ 1702928 h 1926166"/>
              <a:gd name="connsiteX10" fmla="*/ 1062970 w 1916289"/>
              <a:gd name="connsiteY10" fmla="*/ 1701800 h 1926166"/>
              <a:gd name="connsiteX0" fmla="*/ 1062970 w 1916289"/>
              <a:gd name="connsiteY0" fmla="*/ 1701800 h 1926166"/>
              <a:gd name="connsiteX1" fmla="*/ 830136 w 1916289"/>
              <a:gd name="connsiteY1" fmla="*/ 1926166 h 1926166"/>
              <a:gd name="connsiteX2" fmla="*/ 676388 w 1916289"/>
              <a:gd name="connsiteY2" fmla="*/ 1697366 h 1926166"/>
              <a:gd name="connsiteX3" fmla="*/ 2822 w 1916289"/>
              <a:gd name="connsiteY3" fmla="*/ 1701800 h 1926166"/>
              <a:gd name="connsiteX4" fmla="*/ 0 w 1916289"/>
              <a:gd name="connsiteY4" fmla="*/ 5645 h 1926166"/>
              <a:gd name="connsiteX5" fmla="*/ 1721556 w 1916289"/>
              <a:gd name="connsiteY5" fmla="*/ 0 h 1926166"/>
              <a:gd name="connsiteX6" fmla="*/ 1718733 w 1916289"/>
              <a:gd name="connsiteY6" fmla="*/ 211667 h 1926166"/>
              <a:gd name="connsiteX7" fmla="*/ 1916289 w 1916289"/>
              <a:gd name="connsiteY7" fmla="*/ 406400 h 1926166"/>
              <a:gd name="connsiteX8" fmla="*/ 1721556 w 1916289"/>
              <a:gd name="connsiteY8" fmla="*/ 601133 h 1926166"/>
              <a:gd name="connsiteX9" fmla="*/ 1717847 w 1916289"/>
              <a:gd name="connsiteY9" fmla="*/ 1702928 h 1926166"/>
              <a:gd name="connsiteX10" fmla="*/ 1062970 w 1916289"/>
              <a:gd name="connsiteY10" fmla="*/ 1701800 h 1926166"/>
              <a:gd name="connsiteX0" fmla="*/ 1062970 w 1916289"/>
              <a:gd name="connsiteY0" fmla="*/ 1701800 h 1909232"/>
              <a:gd name="connsiteX1" fmla="*/ 883218 w 1916289"/>
              <a:gd name="connsiteY1" fmla="*/ 1909232 h 1909232"/>
              <a:gd name="connsiteX2" fmla="*/ 676388 w 1916289"/>
              <a:gd name="connsiteY2" fmla="*/ 1697366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17847 w 1916289"/>
              <a:gd name="connsiteY9" fmla="*/ 1702928 h 1909232"/>
              <a:gd name="connsiteX10" fmla="*/ 1062970 w 1916289"/>
              <a:gd name="connsiteY10" fmla="*/ 1701800 h 1909232"/>
              <a:gd name="connsiteX0" fmla="*/ 1096494 w 1916289"/>
              <a:gd name="connsiteY0" fmla="*/ 1690511 h 1909232"/>
              <a:gd name="connsiteX1" fmla="*/ 883218 w 1916289"/>
              <a:gd name="connsiteY1" fmla="*/ 1909232 h 1909232"/>
              <a:gd name="connsiteX2" fmla="*/ 676388 w 1916289"/>
              <a:gd name="connsiteY2" fmla="*/ 1697366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17847 w 1916289"/>
              <a:gd name="connsiteY9" fmla="*/ 1702928 h 1909232"/>
              <a:gd name="connsiteX10" fmla="*/ 1096494 w 1916289"/>
              <a:gd name="connsiteY10" fmla="*/ 1690511 h 1909232"/>
              <a:gd name="connsiteX0" fmla="*/ 1096494 w 1916289"/>
              <a:gd name="connsiteY0" fmla="*/ 1690511 h 1909232"/>
              <a:gd name="connsiteX1" fmla="*/ 883218 w 1916289"/>
              <a:gd name="connsiteY1" fmla="*/ 1909232 h 1909232"/>
              <a:gd name="connsiteX2" fmla="*/ 676388 w 1916289"/>
              <a:gd name="connsiteY2" fmla="*/ 1697366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40197 w 1916289"/>
              <a:gd name="connsiteY9" fmla="*/ 1688817 h 1909232"/>
              <a:gd name="connsiteX10" fmla="*/ 1096494 w 1916289"/>
              <a:gd name="connsiteY10" fmla="*/ 1690511 h 1909232"/>
              <a:gd name="connsiteX0" fmla="*/ 1096494 w 1916289"/>
              <a:gd name="connsiteY0" fmla="*/ 1690511 h 1909232"/>
              <a:gd name="connsiteX1" fmla="*/ 883218 w 1916289"/>
              <a:gd name="connsiteY1" fmla="*/ 1909232 h 1909232"/>
              <a:gd name="connsiteX2" fmla="*/ 676388 w 1916289"/>
              <a:gd name="connsiteY2" fmla="*/ 1700189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40197 w 1916289"/>
              <a:gd name="connsiteY9" fmla="*/ 1688817 h 1909232"/>
              <a:gd name="connsiteX10" fmla="*/ 1096494 w 1916289"/>
              <a:gd name="connsiteY10" fmla="*/ 1690511 h 190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16289" h="1909232">
                <a:moveTo>
                  <a:pt x="1096494" y="1690511"/>
                </a:moveTo>
                <a:lnTo>
                  <a:pt x="883218" y="1909232"/>
                </a:lnTo>
                <a:lnTo>
                  <a:pt x="676388" y="1700189"/>
                </a:lnTo>
                <a:lnTo>
                  <a:pt x="2822" y="1701800"/>
                </a:lnTo>
                <a:cubicBezTo>
                  <a:pt x="1881" y="1136415"/>
                  <a:pt x="941" y="571030"/>
                  <a:pt x="0" y="5645"/>
                </a:cubicBezTo>
                <a:lnTo>
                  <a:pt x="1721556" y="0"/>
                </a:lnTo>
                <a:lnTo>
                  <a:pt x="1718733" y="211667"/>
                </a:lnTo>
                <a:lnTo>
                  <a:pt x="1916289" y="406400"/>
                </a:lnTo>
                <a:lnTo>
                  <a:pt x="1721556" y="601133"/>
                </a:lnTo>
                <a:cubicBezTo>
                  <a:pt x="1721556" y="968022"/>
                  <a:pt x="1740197" y="1688817"/>
                  <a:pt x="1740197" y="1688817"/>
                </a:cubicBezTo>
                <a:lnTo>
                  <a:pt x="1096494" y="1690511"/>
                </a:lnTo>
                <a:close/>
              </a:path>
            </a:pathLst>
          </a:custGeom>
          <a:solidFill>
            <a:srgbClr val="B746D2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3" name="Forme libre 12"/>
          <p:cNvSpPr/>
          <p:nvPr/>
        </p:nvSpPr>
        <p:spPr>
          <a:xfrm>
            <a:off x="1850319" y="1089570"/>
            <a:ext cx="1951037" cy="1701800"/>
          </a:xfrm>
          <a:custGeom>
            <a:avLst/>
            <a:gdLst>
              <a:gd name="connsiteX0" fmla="*/ 0 w 1930400"/>
              <a:gd name="connsiteY0" fmla="*/ 0 h 1693333"/>
              <a:gd name="connsiteX1" fmla="*/ 1727200 w 1930400"/>
              <a:gd name="connsiteY1" fmla="*/ 0 h 1693333"/>
              <a:gd name="connsiteX2" fmla="*/ 1727200 w 1930400"/>
              <a:gd name="connsiteY2" fmla="*/ 194733 h 1693333"/>
              <a:gd name="connsiteX3" fmla="*/ 1930400 w 1930400"/>
              <a:gd name="connsiteY3" fmla="*/ 397933 h 1693333"/>
              <a:gd name="connsiteX4" fmla="*/ 1735667 w 1930400"/>
              <a:gd name="connsiteY4" fmla="*/ 592666 h 1693333"/>
              <a:gd name="connsiteX5" fmla="*/ 1735667 w 1930400"/>
              <a:gd name="connsiteY5" fmla="*/ 1693333 h 1693333"/>
              <a:gd name="connsiteX6" fmla="*/ 16933 w 1930400"/>
              <a:gd name="connsiteY6" fmla="*/ 1693333 h 1693333"/>
              <a:gd name="connsiteX7" fmla="*/ 0 w 1930400"/>
              <a:gd name="connsiteY7" fmla="*/ 0 h 169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30400" h="1693333">
                <a:moveTo>
                  <a:pt x="0" y="0"/>
                </a:moveTo>
                <a:lnTo>
                  <a:pt x="1727200" y="0"/>
                </a:lnTo>
                <a:lnTo>
                  <a:pt x="1727200" y="194733"/>
                </a:lnTo>
                <a:lnTo>
                  <a:pt x="1930400" y="397933"/>
                </a:lnTo>
                <a:lnTo>
                  <a:pt x="1735667" y="592666"/>
                </a:lnTo>
                <a:lnTo>
                  <a:pt x="1735667" y="1693333"/>
                </a:lnTo>
                <a:lnTo>
                  <a:pt x="16933" y="169333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1869369" y="4513808"/>
            <a:ext cx="1758950" cy="1716087"/>
          </a:xfrm>
          <a:prstGeom prst="rect">
            <a:avLst/>
          </a:prstGeom>
          <a:solidFill>
            <a:srgbClr val="7C2391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5" name="Forme libre 14"/>
          <p:cNvSpPr/>
          <p:nvPr/>
        </p:nvSpPr>
        <p:spPr>
          <a:xfrm>
            <a:off x="3587044" y="4269333"/>
            <a:ext cx="1728787" cy="1960562"/>
          </a:xfrm>
          <a:custGeom>
            <a:avLst/>
            <a:gdLst>
              <a:gd name="connsiteX0" fmla="*/ 0 w 1722120"/>
              <a:gd name="connsiteY0" fmla="*/ 208280 h 1925320"/>
              <a:gd name="connsiteX1" fmla="*/ 655320 w 1722120"/>
              <a:gd name="connsiteY1" fmla="*/ 208280 h 1925320"/>
              <a:gd name="connsiteX2" fmla="*/ 833120 w 1722120"/>
              <a:gd name="connsiteY2" fmla="*/ 0 h 1925320"/>
              <a:gd name="connsiteX3" fmla="*/ 1036320 w 1722120"/>
              <a:gd name="connsiteY3" fmla="*/ 198120 h 1925320"/>
              <a:gd name="connsiteX4" fmla="*/ 1722120 w 1722120"/>
              <a:gd name="connsiteY4" fmla="*/ 198120 h 1925320"/>
              <a:gd name="connsiteX5" fmla="*/ 1722120 w 1722120"/>
              <a:gd name="connsiteY5" fmla="*/ 1925320 h 1925320"/>
              <a:gd name="connsiteX6" fmla="*/ 15240 w 1722120"/>
              <a:gd name="connsiteY6" fmla="*/ 1925320 h 1925320"/>
              <a:gd name="connsiteX7" fmla="*/ 0 w 1722120"/>
              <a:gd name="connsiteY7" fmla="*/ 208280 h 1925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22120" h="1925320">
                <a:moveTo>
                  <a:pt x="0" y="208280"/>
                </a:moveTo>
                <a:lnTo>
                  <a:pt x="655320" y="208280"/>
                </a:lnTo>
                <a:lnTo>
                  <a:pt x="833120" y="0"/>
                </a:lnTo>
                <a:lnTo>
                  <a:pt x="1036320" y="198120"/>
                </a:lnTo>
                <a:lnTo>
                  <a:pt x="1722120" y="198120"/>
                </a:lnTo>
                <a:lnTo>
                  <a:pt x="1722120" y="1925320"/>
                </a:lnTo>
                <a:lnTo>
                  <a:pt x="15240" y="1925320"/>
                </a:lnTo>
                <a:lnTo>
                  <a:pt x="0" y="208280"/>
                </a:lnTo>
                <a:close/>
              </a:path>
            </a:pathLst>
          </a:custGeom>
          <a:solidFill>
            <a:srgbClr val="DCA5E9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/>
          <a:p>
            <a:pPr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2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Forme libre 15"/>
          <p:cNvSpPr/>
          <p:nvPr/>
        </p:nvSpPr>
        <p:spPr>
          <a:xfrm>
            <a:off x="5117394" y="4394745"/>
            <a:ext cx="1893887" cy="1835150"/>
          </a:xfrm>
          <a:custGeom>
            <a:avLst/>
            <a:gdLst>
              <a:gd name="connsiteX0" fmla="*/ 182880 w 1884680"/>
              <a:gd name="connsiteY0" fmla="*/ 1173480 h 1727200"/>
              <a:gd name="connsiteX1" fmla="*/ 0 w 1884680"/>
              <a:gd name="connsiteY1" fmla="*/ 1386840 h 1727200"/>
              <a:gd name="connsiteX2" fmla="*/ 187960 w 1884680"/>
              <a:gd name="connsiteY2" fmla="*/ 1569720 h 1727200"/>
              <a:gd name="connsiteX3" fmla="*/ 187960 w 1884680"/>
              <a:gd name="connsiteY3" fmla="*/ 1727200 h 1727200"/>
              <a:gd name="connsiteX4" fmla="*/ 1884680 w 1884680"/>
              <a:gd name="connsiteY4" fmla="*/ 1727200 h 1727200"/>
              <a:gd name="connsiteX5" fmla="*/ 1884680 w 1884680"/>
              <a:gd name="connsiteY5" fmla="*/ 0 h 1727200"/>
              <a:gd name="connsiteX6" fmla="*/ 198120 w 1884680"/>
              <a:gd name="connsiteY6" fmla="*/ 0 h 1727200"/>
              <a:gd name="connsiteX7" fmla="*/ 182880 w 1884680"/>
              <a:gd name="connsiteY7" fmla="*/ 1173480 h 17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84680" h="1727200">
                <a:moveTo>
                  <a:pt x="182880" y="1173480"/>
                </a:moveTo>
                <a:lnTo>
                  <a:pt x="0" y="1386840"/>
                </a:lnTo>
                <a:lnTo>
                  <a:pt x="187960" y="1569720"/>
                </a:lnTo>
                <a:lnTo>
                  <a:pt x="187960" y="1727200"/>
                </a:lnTo>
                <a:lnTo>
                  <a:pt x="1884680" y="1727200"/>
                </a:lnTo>
                <a:lnTo>
                  <a:pt x="1884680" y="0"/>
                </a:lnTo>
                <a:lnTo>
                  <a:pt x="198120" y="0"/>
                </a:lnTo>
                <a:lnTo>
                  <a:pt x="182880" y="117348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7" name="Forme libre 16"/>
          <p:cNvSpPr/>
          <p:nvPr/>
        </p:nvSpPr>
        <p:spPr>
          <a:xfrm>
            <a:off x="3574344" y="2778670"/>
            <a:ext cx="1741487" cy="1735138"/>
          </a:xfrm>
          <a:custGeom>
            <a:avLst/>
            <a:gdLst>
              <a:gd name="connsiteX0" fmla="*/ 0 w 1730829"/>
              <a:gd name="connsiteY0" fmla="*/ 5442 h 1736270"/>
              <a:gd name="connsiteX1" fmla="*/ 642257 w 1730829"/>
              <a:gd name="connsiteY1" fmla="*/ 5442 h 1736270"/>
              <a:gd name="connsiteX2" fmla="*/ 854529 w 1730829"/>
              <a:gd name="connsiteY2" fmla="*/ 217714 h 1736270"/>
              <a:gd name="connsiteX3" fmla="*/ 1072243 w 1730829"/>
              <a:gd name="connsiteY3" fmla="*/ 0 h 1736270"/>
              <a:gd name="connsiteX4" fmla="*/ 1730829 w 1730829"/>
              <a:gd name="connsiteY4" fmla="*/ 0 h 1736270"/>
              <a:gd name="connsiteX5" fmla="*/ 1730829 w 1730829"/>
              <a:gd name="connsiteY5" fmla="*/ 1736270 h 1736270"/>
              <a:gd name="connsiteX6" fmla="*/ 1034143 w 1730829"/>
              <a:gd name="connsiteY6" fmla="*/ 1736270 h 1736270"/>
              <a:gd name="connsiteX7" fmla="*/ 865414 w 1730829"/>
              <a:gd name="connsiteY7" fmla="*/ 1529442 h 1736270"/>
              <a:gd name="connsiteX8" fmla="*/ 664029 w 1730829"/>
              <a:gd name="connsiteY8" fmla="*/ 1730827 h 1736270"/>
              <a:gd name="connsiteX9" fmla="*/ 10886 w 1730829"/>
              <a:gd name="connsiteY9" fmla="*/ 1730827 h 1736270"/>
              <a:gd name="connsiteX10" fmla="*/ 0 w 1730829"/>
              <a:gd name="connsiteY10" fmla="*/ 5442 h 173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30829" h="1736270">
                <a:moveTo>
                  <a:pt x="0" y="5442"/>
                </a:moveTo>
                <a:lnTo>
                  <a:pt x="642257" y="5442"/>
                </a:lnTo>
                <a:lnTo>
                  <a:pt x="854529" y="217714"/>
                </a:lnTo>
                <a:lnTo>
                  <a:pt x="1072243" y="0"/>
                </a:lnTo>
                <a:lnTo>
                  <a:pt x="1730829" y="0"/>
                </a:lnTo>
                <a:lnTo>
                  <a:pt x="1730829" y="1736270"/>
                </a:lnTo>
                <a:lnTo>
                  <a:pt x="1034143" y="1736270"/>
                </a:lnTo>
                <a:lnTo>
                  <a:pt x="865414" y="1529442"/>
                </a:lnTo>
                <a:lnTo>
                  <a:pt x="664029" y="1730827"/>
                </a:lnTo>
                <a:lnTo>
                  <a:pt x="10886" y="1730827"/>
                </a:lnTo>
                <a:cubicBezTo>
                  <a:pt x="7257" y="1155699"/>
                  <a:pt x="3629" y="580570"/>
                  <a:pt x="0" y="54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8" name="Rectangle 13"/>
          <p:cNvSpPr/>
          <p:nvPr/>
        </p:nvSpPr>
        <p:spPr>
          <a:xfrm>
            <a:off x="1869369" y="2791370"/>
            <a:ext cx="1951037" cy="1722438"/>
          </a:xfrm>
          <a:custGeom>
            <a:avLst/>
            <a:gdLst>
              <a:gd name="connsiteX0" fmla="*/ 0 w 1710268"/>
              <a:gd name="connsiteY0" fmla="*/ 0 h 1722437"/>
              <a:gd name="connsiteX1" fmla="*/ 1710268 w 1710268"/>
              <a:gd name="connsiteY1" fmla="*/ 0 h 1722437"/>
              <a:gd name="connsiteX2" fmla="*/ 1710268 w 1710268"/>
              <a:gd name="connsiteY2" fmla="*/ 1722437 h 1722437"/>
              <a:gd name="connsiteX3" fmla="*/ 0 w 1710268"/>
              <a:gd name="connsiteY3" fmla="*/ 1722437 h 1722437"/>
              <a:gd name="connsiteX4" fmla="*/ 0 w 1710268"/>
              <a:gd name="connsiteY4" fmla="*/ 0 h 1722437"/>
              <a:gd name="connsiteX0" fmla="*/ 1710268 w 1801708"/>
              <a:gd name="connsiteY0" fmla="*/ 0 h 1722437"/>
              <a:gd name="connsiteX1" fmla="*/ 1710268 w 1801708"/>
              <a:gd name="connsiteY1" fmla="*/ 1722437 h 1722437"/>
              <a:gd name="connsiteX2" fmla="*/ 0 w 1801708"/>
              <a:gd name="connsiteY2" fmla="*/ 1722437 h 1722437"/>
              <a:gd name="connsiteX3" fmla="*/ 0 w 1801708"/>
              <a:gd name="connsiteY3" fmla="*/ 0 h 1722437"/>
              <a:gd name="connsiteX4" fmla="*/ 1801708 w 1801708"/>
              <a:gd name="connsiteY4" fmla="*/ 91440 h 1722437"/>
              <a:gd name="connsiteX0" fmla="*/ 1735668 w 1801708"/>
              <a:gd name="connsiteY0" fmla="*/ 1041400 h 1722437"/>
              <a:gd name="connsiteX1" fmla="*/ 1710268 w 1801708"/>
              <a:gd name="connsiteY1" fmla="*/ 1722437 h 1722437"/>
              <a:gd name="connsiteX2" fmla="*/ 0 w 1801708"/>
              <a:gd name="connsiteY2" fmla="*/ 1722437 h 1722437"/>
              <a:gd name="connsiteX3" fmla="*/ 0 w 1801708"/>
              <a:gd name="connsiteY3" fmla="*/ 0 h 1722437"/>
              <a:gd name="connsiteX4" fmla="*/ 1801708 w 1801708"/>
              <a:gd name="connsiteY4" fmla="*/ 91440 h 1722437"/>
              <a:gd name="connsiteX0" fmla="*/ 1735668 w 1735668"/>
              <a:gd name="connsiteY0" fmla="*/ 1041400 h 1722437"/>
              <a:gd name="connsiteX1" fmla="*/ 1710268 w 1735668"/>
              <a:gd name="connsiteY1" fmla="*/ 1722437 h 1722437"/>
              <a:gd name="connsiteX2" fmla="*/ 0 w 1735668"/>
              <a:gd name="connsiteY2" fmla="*/ 1722437 h 1722437"/>
              <a:gd name="connsiteX3" fmla="*/ 0 w 1735668"/>
              <a:gd name="connsiteY3" fmla="*/ 0 h 1722437"/>
              <a:gd name="connsiteX4" fmla="*/ 1720428 w 1735668"/>
              <a:gd name="connsiteY4" fmla="*/ 0 h 1722437"/>
              <a:gd name="connsiteX0" fmla="*/ 1735668 w 1842645"/>
              <a:gd name="connsiteY0" fmla="*/ 1048173 h 1729210"/>
              <a:gd name="connsiteX1" fmla="*/ 1710268 w 1842645"/>
              <a:gd name="connsiteY1" fmla="*/ 1729210 h 1729210"/>
              <a:gd name="connsiteX2" fmla="*/ 0 w 1842645"/>
              <a:gd name="connsiteY2" fmla="*/ 1729210 h 1729210"/>
              <a:gd name="connsiteX3" fmla="*/ 0 w 1842645"/>
              <a:gd name="connsiteY3" fmla="*/ 6773 h 1729210"/>
              <a:gd name="connsiteX4" fmla="*/ 1720428 w 1842645"/>
              <a:gd name="connsiteY4" fmla="*/ 6773 h 1729210"/>
              <a:gd name="connsiteX5" fmla="*/ 1701801 w 1842645"/>
              <a:gd name="connsiteY5" fmla="*/ 0 h 1729210"/>
              <a:gd name="connsiteX0" fmla="*/ 1735668 w 1847799"/>
              <a:gd name="connsiteY0" fmla="*/ 1041402 h 1722439"/>
              <a:gd name="connsiteX1" fmla="*/ 1710268 w 1847799"/>
              <a:gd name="connsiteY1" fmla="*/ 1722439 h 1722439"/>
              <a:gd name="connsiteX2" fmla="*/ 0 w 1847799"/>
              <a:gd name="connsiteY2" fmla="*/ 1722439 h 1722439"/>
              <a:gd name="connsiteX3" fmla="*/ 0 w 1847799"/>
              <a:gd name="connsiteY3" fmla="*/ 2 h 1722439"/>
              <a:gd name="connsiteX4" fmla="*/ 1720428 w 1847799"/>
              <a:gd name="connsiteY4" fmla="*/ 2 h 1722439"/>
              <a:gd name="connsiteX5" fmla="*/ 1722121 w 1847799"/>
              <a:gd name="connsiteY5" fmla="*/ 633309 h 1722439"/>
              <a:gd name="connsiteX0" fmla="*/ 1735668 w 1847799"/>
              <a:gd name="connsiteY0" fmla="*/ 1041402 h 1722439"/>
              <a:gd name="connsiteX1" fmla="*/ 1710268 w 1847799"/>
              <a:gd name="connsiteY1" fmla="*/ 1722439 h 1722439"/>
              <a:gd name="connsiteX2" fmla="*/ 0 w 1847799"/>
              <a:gd name="connsiteY2" fmla="*/ 1722439 h 1722439"/>
              <a:gd name="connsiteX3" fmla="*/ 0 w 1847799"/>
              <a:gd name="connsiteY3" fmla="*/ 2 h 1722439"/>
              <a:gd name="connsiteX4" fmla="*/ 1720428 w 1847799"/>
              <a:gd name="connsiteY4" fmla="*/ 2 h 1722439"/>
              <a:gd name="connsiteX5" fmla="*/ 1722121 w 1847799"/>
              <a:gd name="connsiteY5" fmla="*/ 633309 h 1722439"/>
              <a:gd name="connsiteX0" fmla="*/ 1735668 w 1735668"/>
              <a:gd name="connsiteY0" fmla="*/ 1041400 h 1722437"/>
              <a:gd name="connsiteX1" fmla="*/ 1710268 w 1735668"/>
              <a:gd name="connsiteY1" fmla="*/ 1722437 h 1722437"/>
              <a:gd name="connsiteX2" fmla="*/ 0 w 1735668"/>
              <a:gd name="connsiteY2" fmla="*/ 1722437 h 1722437"/>
              <a:gd name="connsiteX3" fmla="*/ 0 w 1735668"/>
              <a:gd name="connsiteY3" fmla="*/ 0 h 1722437"/>
              <a:gd name="connsiteX4" fmla="*/ 1720428 w 1735668"/>
              <a:gd name="connsiteY4" fmla="*/ 0 h 1722437"/>
              <a:gd name="connsiteX5" fmla="*/ 1722121 w 1735668"/>
              <a:gd name="connsiteY5" fmla="*/ 633307 h 1722437"/>
              <a:gd name="connsiteX0" fmla="*/ 1735668 w 1735668"/>
              <a:gd name="connsiteY0" fmla="*/ 1041400 h 1722437"/>
              <a:gd name="connsiteX1" fmla="*/ 1710268 w 1735668"/>
              <a:gd name="connsiteY1" fmla="*/ 1722437 h 1722437"/>
              <a:gd name="connsiteX2" fmla="*/ 0 w 1735668"/>
              <a:gd name="connsiteY2" fmla="*/ 1722437 h 1722437"/>
              <a:gd name="connsiteX3" fmla="*/ 0 w 1735668"/>
              <a:gd name="connsiteY3" fmla="*/ 0 h 1722437"/>
              <a:gd name="connsiteX4" fmla="*/ 1720428 w 1735668"/>
              <a:gd name="connsiteY4" fmla="*/ 0 h 1722437"/>
              <a:gd name="connsiteX5" fmla="*/ 1722121 w 1735668"/>
              <a:gd name="connsiteY5" fmla="*/ 633307 h 1722437"/>
              <a:gd name="connsiteX6" fmla="*/ 1722121 w 1735668"/>
              <a:gd name="connsiteY6" fmla="*/ 628227 h 1722437"/>
              <a:gd name="connsiteX0" fmla="*/ 1735668 w 1930401"/>
              <a:gd name="connsiteY0" fmla="*/ 1041400 h 1722437"/>
              <a:gd name="connsiteX1" fmla="*/ 1710268 w 1930401"/>
              <a:gd name="connsiteY1" fmla="*/ 1722437 h 1722437"/>
              <a:gd name="connsiteX2" fmla="*/ 0 w 1930401"/>
              <a:gd name="connsiteY2" fmla="*/ 1722437 h 1722437"/>
              <a:gd name="connsiteX3" fmla="*/ 0 w 1930401"/>
              <a:gd name="connsiteY3" fmla="*/ 0 h 1722437"/>
              <a:gd name="connsiteX4" fmla="*/ 1720428 w 1930401"/>
              <a:gd name="connsiteY4" fmla="*/ 0 h 1722437"/>
              <a:gd name="connsiteX5" fmla="*/ 1722121 w 1930401"/>
              <a:gd name="connsiteY5" fmla="*/ 633307 h 1722437"/>
              <a:gd name="connsiteX6" fmla="*/ 1930401 w 1930401"/>
              <a:gd name="connsiteY6" fmla="*/ 851747 h 1722437"/>
              <a:gd name="connsiteX0" fmla="*/ 1735668 w 1930401"/>
              <a:gd name="connsiteY0" fmla="*/ 1041400 h 1722437"/>
              <a:gd name="connsiteX1" fmla="*/ 1710268 w 1930401"/>
              <a:gd name="connsiteY1" fmla="*/ 1722437 h 1722437"/>
              <a:gd name="connsiteX2" fmla="*/ 0 w 1930401"/>
              <a:gd name="connsiteY2" fmla="*/ 1722437 h 1722437"/>
              <a:gd name="connsiteX3" fmla="*/ 0 w 1930401"/>
              <a:gd name="connsiteY3" fmla="*/ 0 h 1722437"/>
              <a:gd name="connsiteX4" fmla="*/ 1720428 w 1930401"/>
              <a:gd name="connsiteY4" fmla="*/ 0 h 1722437"/>
              <a:gd name="connsiteX5" fmla="*/ 1722121 w 1930401"/>
              <a:gd name="connsiteY5" fmla="*/ 633307 h 1722437"/>
              <a:gd name="connsiteX6" fmla="*/ 1930401 w 1930401"/>
              <a:gd name="connsiteY6" fmla="*/ 851747 h 1722437"/>
              <a:gd name="connsiteX0" fmla="*/ 1735668 w 1930401"/>
              <a:gd name="connsiteY0" fmla="*/ 1041400 h 1722437"/>
              <a:gd name="connsiteX1" fmla="*/ 1710268 w 1930401"/>
              <a:gd name="connsiteY1" fmla="*/ 1722437 h 1722437"/>
              <a:gd name="connsiteX2" fmla="*/ 0 w 1930401"/>
              <a:gd name="connsiteY2" fmla="*/ 1722437 h 1722437"/>
              <a:gd name="connsiteX3" fmla="*/ 0 w 1930401"/>
              <a:gd name="connsiteY3" fmla="*/ 0 h 1722437"/>
              <a:gd name="connsiteX4" fmla="*/ 1720428 w 1930401"/>
              <a:gd name="connsiteY4" fmla="*/ 0 h 1722437"/>
              <a:gd name="connsiteX5" fmla="*/ 1722121 w 1930401"/>
              <a:gd name="connsiteY5" fmla="*/ 633307 h 1722437"/>
              <a:gd name="connsiteX6" fmla="*/ 1930401 w 1930401"/>
              <a:gd name="connsiteY6" fmla="*/ 851747 h 1722437"/>
              <a:gd name="connsiteX7" fmla="*/ 1735668 w 1930401"/>
              <a:gd name="connsiteY7" fmla="*/ 1041400 h 172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30401" h="1722437">
                <a:moveTo>
                  <a:pt x="1735668" y="1041400"/>
                </a:moveTo>
                <a:lnTo>
                  <a:pt x="1710268" y="1722437"/>
                </a:lnTo>
                <a:lnTo>
                  <a:pt x="0" y="1722437"/>
                </a:lnTo>
                <a:lnTo>
                  <a:pt x="0" y="0"/>
                </a:lnTo>
                <a:lnTo>
                  <a:pt x="1720428" y="0"/>
                </a:lnTo>
                <a:cubicBezTo>
                  <a:pt x="1720992" y="211102"/>
                  <a:pt x="1721557" y="422205"/>
                  <a:pt x="1722121" y="633307"/>
                </a:cubicBezTo>
                <a:lnTo>
                  <a:pt x="1930401" y="851747"/>
                </a:lnTo>
                <a:lnTo>
                  <a:pt x="1735668" y="10414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9" name="Forme libre 18"/>
          <p:cNvSpPr/>
          <p:nvPr/>
        </p:nvSpPr>
        <p:spPr>
          <a:xfrm>
            <a:off x="5309481" y="1089570"/>
            <a:ext cx="1701800" cy="1909763"/>
          </a:xfrm>
          <a:custGeom>
            <a:avLst/>
            <a:gdLst>
              <a:gd name="connsiteX0" fmla="*/ 1329267 w 1701800"/>
              <a:gd name="connsiteY0" fmla="*/ 1938867 h 1938867"/>
              <a:gd name="connsiteX1" fmla="*/ 1126067 w 1701800"/>
              <a:gd name="connsiteY1" fmla="*/ 1727200 h 1938867"/>
              <a:gd name="connsiteX2" fmla="*/ 0 w 1701800"/>
              <a:gd name="connsiteY2" fmla="*/ 1727200 h 1938867"/>
              <a:gd name="connsiteX3" fmla="*/ 0 w 1701800"/>
              <a:gd name="connsiteY3" fmla="*/ 0 h 1938867"/>
              <a:gd name="connsiteX4" fmla="*/ 1701800 w 1701800"/>
              <a:gd name="connsiteY4" fmla="*/ 0 h 1938867"/>
              <a:gd name="connsiteX5" fmla="*/ 1701800 w 1701800"/>
              <a:gd name="connsiteY5" fmla="*/ 1727200 h 1938867"/>
              <a:gd name="connsiteX6" fmla="*/ 1498600 w 1701800"/>
              <a:gd name="connsiteY6" fmla="*/ 1727200 h 1938867"/>
              <a:gd name="connsiteX7" fmla="*/ 1329267 w 1701800"/>
              <a:gd name="connsiteY7" fmla="*/ 1938867 h 193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1800" h="1938867">
                <a:moveTo>
                  <a:pt x="1329267" y="1938867"/>
                </a:moveTo>
                <a:lnTo>
                  <a:pt x="1126067" y="1727200"/>
                </a:lnTo>
                <a:lnTo>
                  <a:pt x="0" y="1727200"/>
                </a:lnTo>
                <a:lnTo>
                  <a:pt x="0" y="0"/>
                </a:lnTo>
                <a:lnTo>
                  <a:pt x="1701800" y="0"/>
                </a:lnTo>
                <a:lnTo>
                  <a:pt x="1701800" y="1727200"/>
                </a:lnTo>
                <a:lnTo>
                  <a:pt x="1498600" y="1727200"/>
                </a:lnTo>
                <a:lnTo>
                  <a:pt x="1329267" y="193886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0" name="Forme libre 19"/>
          <p:cNvSpPr/>
          <p:nvPr/>
        </p:nvSpPr>
        <p:spPr>
          <a:xfrm>
            <a:off x="5320594" y="2778670"/>
            <a:ext cx="1690687" cy="1943100"/>
          </a:xfrm>
          <a:custGeom>
            <a:avLst/>
            <a:gdLst>
              <a:gd name="connsiteX0" fmla="*/ 1329267 w 1701800"/>
              <a:gd name="connsiteY0" fmla="*/ 1938867 h 1938867"/>
              <a:gd name="connsiteX1" fmla="*/ 1126067 w 1701800"/>
              <a:gd name="connsiteY1" fmla="*/ 1727200 h 1938867"/>
              <a:gd name="connsiteX2" fmla="*/ 0 w 1701800"/>
              <a:gd name="connsiteY2" fmla="*/ 1727200 h 1938867"/>
              <a:gd name="connsiteX3" fmla="*/ 0 w 1701800"/>
              <a:gd name="connsiteY3" fmla="*/ 0 h 1938867"/>
              <a:gd name="connsiteX4" fmla="*/ 1701800 w 1701800"/>
              <a:gd name="connsiteY4" fmla="*/ 0 h 1938867"/>
              <a:gd name="connsiteX5" fmla="*/ 1701800 w 1701800"/>
              <a:gd name="connsiteY5" fmla="*/ 1727200 h 1938867"/>
              <a:gd name="connsiteX6" fmla="*/ 1498600 w 1701800"/>
              <a:gd name="connsiteY6" fmla="*/ 1727200 h 1938867"/>
              <a:gd name="connsiteX7" fmla="*/ 1329267 w 1701800"/>
              <a:gd name="connsiteY7" fmla="*/ 1938867 h 193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1800" h="1938867">
                <a:moveTo>
                  <a:pt x="1329267" y="1938867"/>
                </a:moveTo>
                <a:lnTo>
                  <a:pt x="1126067" y="1727200"/>
                </a:lnTo>
                <a:lnTo>
                  <a:pt x="0" y="1727200"/>
                </a:lnTo>
                <a:lnTo>
                  <a:pt x="0" y="0"/>
                </a:lnTo>
                <a:lnTo>
                  <a:pt x="1701800" y="0"/>
                </a:lnTo>
                <a:lnTo>
                  <a:pt x="1701800" y="1727200"/>
                </a:lnTo>
                <a:lnTo>
                  <a:pt x="1498600" y="1727200"/>
                </a:lnTo>
                <a:lnTo>
                  <a:pt x="1329267" y="193886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1869592" y="1441512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597784" y="1441512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1869592" y="3170088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3750797" y="3170088"/>
            <a:ext cx="1450228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>
            <a:off x="1863768" y="4898280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30"/>
          </p:nvPr>
        </p:nvSpPr>
        <p:spPr bwMode="auto">
          <a:xfrm>
            <a:off x="3591960" y="4898280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31"/>
          </p:nvPr>
        </p:nvSpPr>
        <p:spPr bwMode="auto">
          <a:xfrm>
            <a:off x="5320152" y="4898280"/>
            <a:ext cx="167949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325976" y="1441512"/>
            <a:ext cx="167949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5325976" y="3170088"/>
            <a:ext cx="167949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49728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5 bul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arme 7"/>
          <p:cNvSpPr/>
          <p:nvPr/>
        </p:nvSpPr>
        <p:spPr>
          <a:xfrm rot="12601227">
            <a:off x="5145088" y="2311400"/>
            <a:ext cx="2139950" cy="2144713"/>
          </a:xfrm>
          <a:prstGeom prst="teardrop">
            <a:avLst>
              <a:gd name="adj" fmla="val 106882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9" name="Larme 8"/>
          <p:cNvSpPr/>
          <p:nvPr/>
        </p:nvSpPr>
        <p:spPr>
          <a:xfrm rot="3641796">
            <a:off x="2028825" y="2301875"/>
            <a:ext cx="2139950" cy="2146300"/>
          </a:xfrm>
          <a:prstGeom prst="teardrop">
            <a:avLst>
              <a:gd name="adj" fmla="val 106882"/>
            </a:avLst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0" name="Larme 9"/>
          <p:cNvSpPr/>
          <p:nvPr/>
        </p:nvSpPr>
        <p:spPr>
          <a:xfrm rot="8100000">
            <a:off x="3575050" y="1109663"/>
            <a:ext cx="2139950" cy="2144712"/>
          </a:xfrm>
          <a:prstGeom prst="teardrop">
            <a:avLst>
              <a:gd name="adj" fmla="val 106882"/>
            </a:avLst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1" name="Larme 10"/>
          <p:cNvSpPr/>
          <p:nvPr/>
        </p:nvSpPr>
        <p:spPr>
          <a:xfrm rot="21092652">
            <a:off x="2619375" y="4027488"/>
            <a:ext cx="2139950" cy="2146300"/>
          </a:xfrm>
          <a:prstGeom prst="teardrop">
            <a:avLst>
              <a:gd name="adj" fmla="val 106882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2" name="Larme 11"/>
          <p:cNvSpPr/>
          <p:nvPr/>
        </p:nvSpPr>
        <p:spPr>
          <a:xfrm rot="16985925">
            <a:off x="4448175" y="4094163"/>
            <a:ext cx="2139950" cy="2146300"/>
          </a:xfrm>
          <a:prstGeom prst="teardrop">
            <a:avLst>
              <a:gd name="adj" fmla="val 106882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563888" y="1340768"/>
            <a:ext cx="2160240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4572000" y="4270859"/>
            <a:ext cx="1944216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5220072" y="2578671"/>
            <a:ext cx="2016224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2045896" y="2636242"/>
            <a:ext cx="2160240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2627784" y="4270859"/>
            <a:ext cx="1800200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342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ul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4"/>
          <p:cNvSpPr/>
          <p:nvPr/>
        </p:nvSpPr>
        <p:spPr>
          <a:xfrm rot="5400000">
            <a:off x="4393355" y="1142697"/>
            <a:ext cx="2264802" cy="2510192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8" name="Ellipse 4"/>
          <p:cNvSpPr/>
          <p:nvPr/>
        </p:nvSpPr>
        <p:spPr>
          <a:xfrm>
            <a:off x="2153092" y="1219201"/>
            <a:ext cx="2264801" cy="2510191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0" name="Ellipse 4"/>
          <p:cNvSpPr/>
          <p:nvPr/>
        </p:nvSpPr>
        <p:spPr>
          <a:xfrm rot="5400000" flipH="1" flipV="1">
            <a:off x="2232482" y="3459464"/>
            <a:ext cx="2264801" cy="2510191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1" name="ZoneTexte 11"/>
          <p:cNvSpPr txBox="1">
            <a:spLocks noChangeArrowheads="1"/>
          </p:cNvSpPr>
          <p:nvPr/>
        </p:nvSpPr>
        <p:spPr bwMode="auto">
          <a:xfrm>
            <a:off x="3622543" y="2970128"/>
            <a:ext cx="35798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12" name="ZoneTexte 12"/>
          <p:cNvSpPr txBox="1">
            <a:spLocks noChangeArrowheads="1"/>
          </p:cNvSpPr>
          <p:nvPr/>
        </p:nvSpPr>
        <p:spPr bwMode="auto">
          <a:xfrm>
            <a:off x="4588222" y="2704530"/>
            <a:ext cx="3565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</a:t>
            </a:r>
          </a:p>
        </p:txBody>
      </p:sp>
      <p:sp>
        <p:nvSpPr>
          <p:cNvPr id="14" name="ZoneTexte 14"/>
          <p:cNvSpPr txBox="1">
            <a:spLocks noChangeArrowheads="1"/>
          </p:cNvSpPr>
          <p:nvPr/>
        </p:nvSpPr>
        <p:spPr bwMode="auto">
          <a:xfrm>
            <a:off x="3954540" y="3859305"/>
            <a:ext cx="35798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rgbClr val="50175D"/>
                </a:solidFill>
              </a:rPr>
              <a:t>3</a:t>
            </a:r>
          </a:p>
        </p:txBody>
      </p:sp>
      <p:sp>
        <p:nvSpPr>
          <p:cNvPr id="15" name="Ellipse 4"/>
          <p:cNvSpPr/>
          <p:nvPr/>
        </p:nvSpPr>
        <p:spPr>
          <a:xfrm>
            <a:off x="2232482" y="1298592"/>
            <a:ext cx="2080038" cy="236728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accent1"/>
              </a:solidFill>
            </a:endParaRPr>
          </a:p>
        </p:txBody>
      </p:sp>
      <p:sp>
        <p:nvSpPr>
          <p:cNvPr id="16" name="Ellipse 4"/>
          <p:cNvSpPr/>
          <p:nvPr/>
        </p:nvSpPr>
        <p:spPr>
          <a:xfrm rot="5400000">
            <a:off x="4469136" y="1201158"/>
            <a:ext cx="2081481" cy="2365844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8" name="Ellipse 4"/>
          <p:cNvSpPr/>
          <p:nvPr/>
        </p:nvSpPr>
        <p:spPr>
          <a:xfrm rot="16200000">
            <a:off x="2337134" y="3542464"/>
            <a:ext cx="2080037" cy="236728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rgbClr val="50175D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2256501" y="3999939"/>
            <a:ext cx="1999012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267744" y="1461488"/>
            <a:ext cx="1784758" cy="159372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4572000" y="1471710"/>
            <a:ext cx="1967055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llipse 4"/>
          <p:cNvSpPr/>
          <p:nvPr/>
        </p:nvSpPr>
        <p:spPr>
          <a:xfrm flipH="1" flipV="1">
            <a:off x="4472469" y="3362167"/>
            <a:ext cx="2264802" cy="250874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3" name="ZoneTexte 13"/>
          <p:cNvSpPr txBox="1">
            <a:spLocks noChangeArrowheads="1"/>
          </p:cNvSpPr>
          <p:nvPr/>
        </p:nvSpPr>
        <p:spPr bwMode="auto">
          <a:xfrm>
            <a:off x="4927082" y="3438262"/>
            <a:ext cx="3565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2</a:t>
            </a:r>
          </a:p>
        </p:txBody>
      </p:sp>
      <p:sp>
        <p:nvSpPr>
          <p:cNvPr id="17" name="Ellipse 4"/>
          <p:cNvSpPr/>
          <p:nvPr/>
        </p:nvSpPr>
        <p:spPr>
          <a:xfrm rot="10800000">
            <a:off x="4569953" y="3419473"/>
            <a:ext cx="2081481" cy="236728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771084" y="3999939"/>
            <a:ext cx="1760754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40968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3 bul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4"/>
          <p:cNvSpPr/>
          <p:nvPr/>
        </p:nvSpPr>
        <p:spPr>
          <a:xfrm rot="60000">
            <a:off x="1830388" y="3190080"/>
            <a:ext cx="2427435" cy="2615184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4 h 2808300"/>
              <a:gd name="connsiteX1" fmla="*/ 1419776 w 2606696"/>
              <a:gd name="connsiteY1" fmla="*/ 2808300 h 2808300"/>
              <a:gd name="connsiteX2" fmla="*/ 550 w 2606696"/>
              <a:gd name="connsiteY2" fmla="*/ 1389340 h 2808300"/>
              <a:gd name="connsiteX3" fmla="*/ 1412896 w 2606696"/>
              <a:gd name="connsiteY3" fmla="*/ 13 h 2808300"/>
              <a:gd name="connsiteX4" fmla="*/ 2606352 w 2606696"/>
              <a:gd name="connsiteY4" fmla="*/ 667127 h 2808300"/>
              <a:gd name="connsiteX5" fmla="*/ 2606696 w 2606696"/>
              <a:gd name="connsiteY5" fmla="*/ 2126734 h 2808300"/>
              <a:gd name="connsiteX0" fmla="*/ 2606696 w 2606696"/>
              <a:gd name="connsiteY0" fmla="*/ 2126734 h 2808300"/>
              <a:gd name="connsiteX1" fmla="*/ 1419776 w 2606696"/>
              <a:gd name="connsiteY1" fmla="*/ 2808300 h 2808300"/>
              <a:gd name="connsiteX2" fmla="*/ 550 w 2606696"/>
              <a:gd name="connsiteY2" fmla="*/ 1389340 h 2808300"/>
              <a:gd name="connsiteX3" fmla="*/ 1412896 w 2606696"/>
              <a:gd name="connsiteY3" fmla="*/ 13 h 2808300"/>
              <a:gd name="connsiteX4" fmla="*/ 2606352 w 2606696"/>
              <a:gd name="connsiteY4" fmla="*/ 667127 h 2808300"/>
              <a:gd name="connsiteX5" fmla="*/ 2606696 w 2606696"/>
              <a:gd name="connsiteY5" fmla="*/ 2126734 h 280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696" h="2808300">
                <a:moveTo>
                  <a:pt x="2606696" y="2126734"/>
                </a:moveTo>
                <a:cubicBezTo>
                  <a:pt x="2605726" y="2126029"/>
                  <a:pt x="2294401" y="2764687"/>
                  <a:pt x="1419776" y="2808300"/>
                </a:cubicBezTo>
                <a:cubicBezTo>
                  <a:pt x="566318" y="2788413"/>
                  <a:pt x="22864" y="2136788"/>
                  <a:pt x="550" y="1389340"/>
                </a:cubicBezTo>
                <a:cubicBezTo>
                  <a:pt x="-21764" y="641892"/>
                  <a:pt x="637314" y="3409"/>
                  <a:pt x="1412896" y="13"/>
                </a:cubicBezTo>
                <a:cubicBezTo>
                  <a:pt x="2188478" y="-3383"/>
                  <a:pt x="2606683" y="666797"/>
                  <a:pt x="2606352" y="667127"/>
                </a:cubicBezTo>
                <a:cubicBezTo>
                  <a:pt x="2300097" y="1426054"/>
                  <a:pt x="2453910" y="1781667"/>
                  <a:pt x="2606696" y="2126734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7" name="Ellipse 4"/>
          <p:cNvSpPr/>
          <p:nvPr/>
        </p:nvSpPr>
        <p:spPr>
          <a:xfrm rot="14520000">
            <a:off x="4334696" y="3269911"/>
            <a:ext cx="2427435" cy="2613706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84313 w 2606696"/>
              <a:gd name="connsiteY4" fmla="*/ 640417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84313 w 2606696"/>
              <a:gd name="connsiteY4" fmla="*/ 640417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6129 w 2606696"/>
              <a:gd name="connsiteY4" fmla="*/ 644225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1678 w 2606696"/>
              <a:gd name="connsiteY4" fmla="*/ 65263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70376 w 2606696"/>
              <a:gd name="connsiteY4" fmla="*/ 646467 h 2808301"/>
              <a:gd name="connsiteX5" fmla="*/ 2606696 w 2606696"/>
              <a:gd name="connsiteY5" fmla="*/ 2126735 h 2808301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70376 w 2606696"/>
              <a:gd name="connsiteY4" fmla="*/ 646453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64807 w 2606696"/>
              <a:gd name="connsiteY4" fmla="*/ 656968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61741 w 2606696"/>
              <a:gd name="connsiteY4" fmla="*/ 652631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52233 w 2606696"/>
              <a:gd name="connsiteY4" fmla="*/ 650266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52233 w 2606696"/>
              <a:gd name="connsiteY4" fmla="*/ 650266 h 2808287"/>
              <a:gd name="connsiteX5" fmla="*/ 2606696 w 2606696"/>
              <a:gd name="connsiteY5" fmla="*/ 2126721 h 2808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696" h="2808287">
                <a:moveTo>
                  <a:pt x="2606696" y="2126721"/>
                </a:moveTo>
                <a:cubicBezTo>
                  <a:pt x="2605726" y="2126016"/>
                  <a:pt x="2294401" y="2764674"/>
                  <a:pt x="1419776" y="2808287"/>
                </a:cubicBezTo>
                <a:cubicBezTo>
                  <a:pt x="566318" y="2788400"/>
                  <a:pt x="22864" y="2136775"/>
                  <a:pt x="550" y="1389327"/>
                </a:cubicBezTo>
                <a:cubicBezTo>
                  <a:pt x="-21764" y="641879"/>
                  <a:pt x="637314" y="3396"/>
                  <a:pt x="1412896" y="0"/>
                </a:cubicBezTo>
                <a:cubicBezTo>
                  <a:pt x="2173563" y="39906"/>
                  <a:pt x="2552564" y="649936"/>
                  <a:pt x="2552233" y="650266"/>
                </a:cubicBezTo>
                <a:cubicBezTo>
                  <a:pt x="2223369" y="1402049"/>
                  <a:pt x="2435166" y="1785742"/>
                  <a:pt x="2606696" y="2126721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8" name="Ellipse 4"/>
          <p:cNvSpPr/>
          <p:nvPr/>
        </p:nvSpPr>
        <p:spPr>
          <a:xfrm rot="7317497">
            <a:off x="3157198" y="1078272"/>
            <a:ext cx="2427435" cy="2615183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72436 w 2606696"/>
              <a:gd name="connsiteY4" fmla="*/ 650431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57094 w 2606696"/>
              <a:gd name="connsiteY4" fmla="*/ 634776 h 2808301"/>
              <a:gd name="connsiteX5" fmla="*/ 2606696 w 2606696"/>
              <a:gd name="connsiteY5" fmla="*/ 2126735 h 2808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696" h="2808301">
                <a:moveTo>
                  <a:pt x="2606696" y="2126735"/>
                </a:moveTo>
                <a:cubicBezTo>
                  <a:pt x="2605726" y="2126030"/>
                  <a:pt x="2294401" y="2764688"/>
                  <a:pt x="1419776" y="2808301"/>
                </a:cubicBezTo>
                <a:cubicBezTo>
                  <a:pt x="566318" y="2788414"/>
                  <a:pt x="22864" y="2136789"/>
                  <a:pt x="550" y="1389341"/>
                </a:cubicBezTo>
                <a:cubicBezTo>
                  <a:pt x="-21764" y="641893"/>
                  <a:pt x="637314" y="3410"/>
                  <a:pt x="1412896" y="14"/>
                </a:cubicBezTo>
                <a:cubicBezTo>
                  <a:pt x="2188478" y="-3382"/>
                  <a:pt x="2557425" y="634446"/>
                  <a:pt x="2557094" y="634776"/>
                </a:cubicBezTo>
                <a:cubicBezTo>
                  <a:pt x="2223837" y="1401875"/>
                  <a:pt x="2475438" y="1858997"/>
                  <a:pt x="2606696" y="2126735"/>
                </a:cubicBezTo>
                <a:close/>
              </a:path>
            </a:pathLst>
          </a:cu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3" name="Forme libre 12"/>
          <p:cNvSpPr/>
          <p:nvPr/>
        </p:nvSpPr>
        <p:spPr>
          <a:xfrm rot="1080000">
            <a:off x="4261997" y="3708190"/>
            <a:ext cx="119518" cy="143660"/>
          </a:xfrm>
          <a:custGeom>
            <a:avLst/>
            <a:gdLst>
              <a:gd name="connsiteX0" fmla="*/ 288 w 128343"/>
              <a:gd name="connsiteY0" fmla="*/ 3542 h 154268"/>
              <a:gd name="connsiteX1" fmla="*/ 124113 w 128343"/>
              <a:gd name="connsiteY1" fmla="*/ 55930 h 154268"/>
              <a:gd name="connsiteX2" fmla="*/ 90775 w 128343"/>
              <a:gd name="connsiteY2" fmla="*/ 153561 h 154268"/>
              <a:gd name="connsiteX3" fmla="*/ 288 w 128343"/>
              <a:gd name="connsiteY3" fmla="*/ 3542 h 154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43" h="154268">
                <a:moveTo>
                  <a:pt x="288" y="3542"/>
                </a:moveTo>
                <a:cubicBezTo>
                  <a:pt x="5844" y="-12730"/>
                  <a:pt x="109032" y="30927"/>
                  <a:pt x="124113" y="55930"/>
                </a:cubicBezTo>
                <a:cubicBezTo>
                  <a:pt x="139194" y="80933"/>
                  <a:pt x="110619" y="162689"/>
                  <a:pt x="90775" y="153561"/>
                </a:cubicBezTo>
                <a:cubicBezTo>
                  <a:pt x="70931" y="144433"/>
                  <a:pt x="-5268" y="19814"/>
                  <a:pt x="288" y="3542"/>
                </a:cubicBezTo>
                <a:close/>
              </a:path>
            </a:pathLst>
          </a:custGeom>
          <a:solidFill>
            <a:schemeClr val="bg1">
              <a:alpha val="9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1862589" y="3785011"/>
            <a:ext cx="2133347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427984" y="3785011"/>
            <a:ext cx="2293885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3131840" y="1629470"/>
            <a:ext cx="2351377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6216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5 axes GS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e 77"/>
          <p:cNvGrpSpPr/>
          <p:nvPr/>
        </p:nvGrpSpPr>
        <p:grpSpPr>
          <a:xfrm>
            <a:off x="2001712" y="1431151"/>
            <a:ext cx="4472622" cy="4474858"/>
            <a:chOff x="2001712" y="1431151"/>
            <a:chExt cx="4472622" cy="4474858"/>
          </a:xfrm>
        </p:grpSpPr>
        <p:sp>
          <p:nvSpPr>
            <p:cNvPr id="79" name="Bouée 78"/>
            <p:cNvSpPr/>
            <p:nvPr/>
          </p:nvSpPr>
          <p:spPr>
            <a:xfrm>
              <a:off x="2061090" y="1492765"/>
              <a:ext cx="4413244" cy="4413244"/>
            </a:xfrm>
            <a:prstGeom prst="donut">
              <a:avLst>
                <a:gd name="adj" fmla="val 26769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fr-FR" sz="1600"/>
            </a:p>
          </p:txBody>
        </p:sp>
        <p:sp>
          <p:nvSpPr>
            <p:cNvPr id="80" name="Organigramme : Fusion 79"/>
            <p:cNvSpPr/>
            <p:nvPr/>
          </p:nvSpPr>
          <p:spPr>
            <a:xfrm rot="8580000">
              <a:off x="3343653" y="2554928"/>
              <a:ext cx="261046" cy="120906"/>
            </a:xfrm>
            <a:prstGeom prst="flowChartMerge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1" name="Organigramme : Fusion 80"/>
            <p:cNvSpPr/>
            <p:nvPr/>
          </p:nvSpPr>
          <p:spPr>
            <a:xfrm rot="4080000">
              <a:off x="2856146" y="4069754"/>
              <a:ext cx="262420" cy="120906"/>
            </a:xfrm>
            <a:prstGeom prst="flowChartMerge">
              <a:avLst/>
            </a:prstGeom>
            <a:solidFill>
              <a:srgbClr val="A86E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2" name="Organigramme : Fusion 81"/>
            <p:cNvSpPr/>
            <p:nvPr/>
          </p:nvSpPr>
          <p:spPr>
            <a:xfrm>
              <a:off x="4139186" y="4983449"/>
              <a:ext cx="262420" cy="120906"/>
            </a:xfrm>
            <a:prstGeom prst="flowChartMerge">
              <a:avLst/>
            </a:prstGeom>
            <a:solidFill>
              <a:srgbClr val="6F51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3" name="Organigramme : Fusion 82"/>
            <p:cNvSpPr/>
            <p:nvPr/>
          </p:nvSpPr>
          <p:spPr>
            <a:xfrm rot="17520000">
              <a:off x="5416280" y="4085540"/>
              <a:ext cx="262420" cy="120906"/>
            </a:xfrm>
            <a:prstGeom prst="flowChartMerg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4" name="Organigramme : Fusion 83"/>
            <p:cNvSpPr/>
            <p:nvPr/>
          </p:nvSpPr>
          <p:spPr>
            <a:xfrm rot="12960000">
              <a:off x="4955318" y="2571509"/>
              <a:ext cx="262420" cy="120906"/>
            </a:xfrm>
            <a:prstGeom prst="flowChartMerge">
              <a:avLst/>
            </a:prstGeom>
            <a:solidFill>
              <a:srgbClr val="DA9E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grpSp>
          <p:nvGrpSpPr>
            <p:cNvPr id="85" name="Groupe 84"/>
            <p:cNvGrpSpPr/>
            <p:nvPr/>
          </p:nvGrpSpPr>
          <p:grpSpPr>
            <a:xfrm>
              <a:off x="3004262" y="2431496"/>
              <a:ext cx="2526900" cy="2535783"/>
              <a:chOff x="3269236" y="2673229"/>
              <a:chExt cx="2043950" cy="2051135"/>
            </a:xfrm>
          </p:grpSpPr>
          <p:sp>
            <p:nvSpPr>
              <p:cNvPr id="91" name="Arc plein 90"/>
              <p:cNvSpPr/>
              <p:nvPr/>
            </p:nvSpPr>
            <p:spPr>
              <a:xfrm rot="-120000">
                <a:off x="3299676" y="2713989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2" name="Arc plein 91"/>
              <p:cNvSpPr/>
              <p:nvPr/>
            </p:nvSpPr>
            <p:spPr>
              <a:xfrm rot="4200000">
                <a:off x="3275819" y="2716382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DA9EE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3" name="Arc plein 92"/>
              <p:cNvSpPr/>
              <p:nvPr/>
            </p:nvSpPr>
            <p:spPr>
              <a:xfrm rot="8520000">
                <a:off x="3269236" y="2689434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4" name="Arc plein 93"/>
              <p:cNvSpPr/>
              <p:nvPr/>
            </p:nvSpPr>
            <p:spPr>
              <a:xfrm rot="12840000">
                <a:off x="3287724" y="2673229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6F51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5" name="Arc plein 94"/>
              <p:cNvSpPr/>
              <p:nvPr/>
            </p:nvSpPr>
            <p:spPr>
              <a:xfrm rot="17160000">
                <a:off x="3305204" y="2689435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A86E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</p:grpSp>
        <p:sp>
          <p:nvSpPr>
            <p:cNvPr id="86" name="Triangle isocèle 85"/>
            <p:cNvSpPr/>
            <p:nvPr/>
          </p:nvSpPr>
          <p:spPr>
            <a:xfrm flipV="1">
              <a:off x="4163617" y="1431151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7" name="Triangle isocèle 86"/>
            <p:cNvSpPr/>
            <p:nvPr/>
          </p:nvSpPr>
          <p:spPr>
            <a:xfrm rot="4380000" flipV="1">
              <a:off x="5465463" y="2382299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8" name="Triangle isocèle 87"/>
            <p:cNvSpPr/>
            <p:nvPr/>
          </p:nvSpPr>
          <p:spPr>
            <a:xfrm rot="17220000" flipV="1">
              <a:off x="2793712" y="2365959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9" name="Triangle isocèle 88"/>
            <p:cNvSpPr/>
            <p:nvPr/>
          </p:nvSpPr>
          <p:spPr>
            <a:xfrm rot="1980000">
              <a:off x="3392456" y="3924519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0" name="Triangle isocèle 89"/>
            <p:cNvSpPr/>
            <p:nvPr/>
          </p:nvSpPr>
          <p:spPr>
            <a:xfrm rot="-2100000">
              <a:off x="4935675" y="3883612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 rot="19357751">
            <a:off x="2169907" y="1911195"/>
            <a:ext cx="2155203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 rot="4219323">
            <a:off x="1686060" y="3847984"/>
            <a:ext cx="1953144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 rot="21600000">
            <a:off x="3333554" y="4999764"/>
            <a:ext cx="1894659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 rot="17418812">
            <a:off x="4973522" y="3821064"/>
            <a:ext cx="1895494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 rot="2349170">
            <a:off x="4230563" y="1920201"/>
            <a:ext cx="2057992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6" name="Espace réservé du texte 11"/>
          <p:cNvSpPr>
            <a:spLocks noGrp="1"/>
          </p:cNvSpPr>
          <p:nvPr>
            <p:ph type="body" sz="quarter" idx="30"/>
          </p:nvPr>
        </p:nvSpPr>
        <p:spPr bwMode="auto">
          <a:xfrm rot="21600000">
            <a:off x="3713806" y="4177644"/>
            <a:ext cx="1161050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7" name="Espace réservé du texte 11"/>
          <p:cNvSpPr>
            <a:spLocks noGrp="1"/>
          </p:cNvSpPr>
          <p:nvPr>
            <p:ph type="body" sz="quarter" idx="31"/>
          </p:nvPr>
        </p:nvSpPr>
        <p:spPr bwMode="auto">
          <a:xfrm rot="4219323">
            <a:off x="2802288" y="3649532"/>
            <a:ext cx="1283621" cy="69384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8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 rot="2349170">
            <a:off x="4106339" y="2581214"/>
            <a:ext cx="1305174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9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 rot="17418812">
            <a:off x="4496600" y="3577375"/>
            <a:ext cx="1244307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0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 rot="19357751">
            <a:off x="3111231" y="2594600"/>
            <a:ext cx="1258341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3218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dées clés -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2003740" y="1268760"/>
            <a:ext cx="4944524" cy="4806617"/>
            <a:chOff x="1831498" y="998647"/>
            <a:chExt cx="5369349" cy="5219593"/>
          </a:xfrm>
        </p:grpSpPr>
        <p:sp>
          <p:nvSpPr>
            <p:cNvPr id="14" name="Pentagone régulier 13"/>
            <p:cNvSpPr/>
            <p:nvPr userDrawn="1"/>
          </p:nvSpPr>
          <p:spPr>
            <a:xfrm rot="10800000">
              <a:off x="3530600" y="2942443"/>
              <a:ext cx="1989138" cy="1850880"/>
            </a:xfrm>
            <a:prstGeom prst="pentagon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5" name="Flèche droite 14"/>
            <p:cNvSpPr/>
            <p:nvPr userDrawn="1"/>
          </p:nvSpPr>
          <p:spPr>
            <a:xfrm rot="11900418">
              <a:off x="1831498" y="2448991"/>
              <a:ext cx="1826928" cy="1539359"/>
            </a:xfrm>
            <a:prstGeom prst="rightArrow">
              <a:avLst>
                <a:gd name="adj1" fmla="val 77393"/>
                <a:gd name="adj2" fmla="val 38565"/>
              </a:avLst>
            </a:prstGeom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6" name="Flèche droite 15"/>
            <p:cNvSpPr/>
            <p:nvPr userDrawn="1"/>
          </p:nvSpPr>
          <p:spPr>
            <a:xfrm rot="20460000">
              <a:off x="5373919" y="2466478"/>
              <a:ext cx="1826928" cy="1514245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tx2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7" name="Flèche droite 16"/>
            <p:cNvSpPr/>
            <p:nvPr userDrawn="1"/>
          </p:nvSpPr>
          <p:spPr>
            <a:xfrm rot="3158710">
              <a:off x="4701543" y="4464800"/>
              <a:ext cx="1826928" cy="1586718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accent3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8" name="Flèche droite 17"/>
            <p:cNvSpPr/>
            <p:nvPr userDrawn="1"/>
          </p:nvSpPr>
          <p:spPr>
            <a:xfrm rot="7445368">
              <a:off x="2567566" y="4524975"/>
              <a:ext cx="1826927" cy="1559604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accent5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9" name="Flèche droite 18"/>
            <p:cNvSpPr/>
            <p:nvPr userDrawn="1"/>
          </p:nvSpPr>
          <p:spPr>
            <a:xfrm rot="16200000">
              <a:off x="3604126" y="1139483"/>
              <a:ext cx="1826930" cy="1545257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accent2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</p:grpSp>
      <p:grpSp>
        <p:nvGrpSpPr>
          <p:cNvPr id="21" name="Groupe 17"/>
          <p:cNvGrpSpPr>
            <a:grpSpLocks/>
          </p:cNvGrpSpPr>
          <p:nvPr/>
        </p:nvGrpSpPr>
        <p:grpSpPr bwMode="auto">
          <a:xfrm rot="4345395">
            <a:off x="6144194" y="3047515"/>
            <a:ext cx="373063" cy="374650"/>
            <a:chOff x="5903847" y="2951674"/>
            <a:chExt cx="734425" cy="734425"/>
          </a:xfrm>
        </p:grpSpPr>
        <p:sp>
          <p:nvSpPr>
            <p:cNvPr id="22" name="Ellipse 21"/>
            <p:cNvSpPr/>
            <p:nvPr/>
          </p:nvSpPr>
          <p:spPr>
            <a:xfrm>
              <a:off x="5903847" y="2951674"/>
              <a:ext cx="734425" cy="734425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23" name="Picture 4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2377" y="3094349"/>
              <a:ext cx="597363" cy="3954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4" name="Groupe 20"/>
          <p:cNvGrpSpPr>
            <a:grpSpLocks/>
          </p:cNvGrpSpPr>
          <p:nvPr/>
        </p:nvGrpSpPr>
        <p:grpSpPr bwMode="auto">
          <a:xfrm rot="-4400224">
            <a:off x="2454211" y="3070643"/>
            <a:ext cx="373063" cy="373063"/>
            <a:chOff x="2371221" y="3067411"/>
            <a:chExt cx="373741" cy="373741"/>
          </a:xfrm>
        </p:grpSpPr>
        <p:sp>
          <p:nvSpPr>
            <p:cNvPr id="25" name="Ellipse 24"/>
            <p:cNvSpPr/>
            <p:nvPr/>
          </p:nvSpPr>
          <p:spPr>
            <a:xfrm>
              <a:off x="2371221" y="3067411"/>
              <a:ext cx="373741" cy="373741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26" name="Picture 6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2891" y="3140857"/>
              <a:ext cx="250400" cy="2268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" name="Groupe 5"/>
          <p:cNvGrpSpPr/>
          <p:nvPr/>
        </p:nvGrpSpPr>
        <p:grpSpPr>
          <a:xfrm>
            <a:off x="3217346" y="5211728"/>
            <a:ext cx="373063" cy="373062"/>
            <a:chOff x="3194050" y="5325281"/>
            <a:chExt cx="373063" cy="373062"/>
          </a:xfrm>
        </p:grpSpPr>
        <p:sp>
          <p:nvSpPr>
            <p:cNvPr id="27" name="Ellipse 26"/>
            <p:cNvSpPr/>
            <p:nvPr userDrawn="1"/>
          </p:nvSpPr>
          <p:spPr>
            <a:xfrm>
              <a:off x="3194050" y="5325281"/>
              <a:ext cx="373063" cy="373062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29" name="Picture 7"/>
            <p:cNvPicPr>
              <a:picLocks noChangeAspect="1" noChangeArrowheads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8137" y="5398841"/>
              <a:ext cx="236537" cy="2174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" name="Groupe 3"/>
          <p:cNvGrpSpPr/>
          <p:nvPr/>
        </p:nvGrpSpPr>
        <p:grpSpPr>
          <a:xfrm>
            <a:off x="4291137" y="1715306"/>
            <a:ext cx="374650" cy="374650"/>
            <a:chOff x="4296961" y="1715306"/>
            <a:chExt cx="374650" cy="374650"/>
          </a:xfrm>
        </p:grpSpPr>
        <p:sp>
          <p:nvSpPr>
            <p:cNvPr id="20" name="Ellipse 19"/>
            <p:cNvSpPr/>
            <p:nvPr userDrawn="1"/>
          </p:nvSpPr>
          <p:spPr>
            <a:xfrm>
              <a:off x="4296961" y="1715306"/>
              <a:ext cx="374650" cy="3746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30" name="Picture 9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8874" y="1794681"/>
              <a:ext cx="250825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5" name="Groupe 4"/>
          <p:cNvGrpSpPr/>
          <p:nvPr/>
        </p:nvGrpSpPr>
        <p:grpSpPr>
          <a:xfrm>
            <a:off x="5429184" y="5157192"/>
            <a:ext cx="373062" cy="374650"/>
            <a:chOff x="5551488" y="5307818"/>
            <a:chExt cx="373062" cy="374650"/>
          </a:xfrm>
        </p:grpSpPr>
        <p:sp>
          <p:nvSpPr>
            <p:cNvPr id="28" name="Ellipse 27"/>
            <p:cNvSpPr/>
            <p:nvPr userDrawn="1"/>
          </p:nvSpPr>
          <p:spPr>
            <a:xfrm>
              <a:off x="5551488" y="5307818"/>
              <a:ext cx="373062" cy="3746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5625" y="5401481"/>
              <a:ext cx="204788" cy="176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2" name="Rectangle 31"/>
          <p:cNvSpPr/>
          <p:nvPr/>
        </p:nvSpPr>
        <p:spPr>
          <a:xfrm>
            <a:off x="298112" y="2393168"/>
            <a:ext cx="72000" cy="9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3" name="Rectangle 32"/>
          <p:cNvSpPr/>
          <p:nvPr/>
        </p:nvSpPr>
        <p:spPr>
          <a:xfrm>
            <a:off x="755576" y="4776006"/>
            <a:ext cx="72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4" name="Rectangle 33"/>
          <p:cNvSpPr/>
          <p:nvPr/>
        </p:nvSpPr>
        <p:spPr>
          <a:xfrm>
            <a:off x="8749034" y="2393168"/>
            <a:ext cx="72000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8318683" y="4776006"/>
            <a:ext cx="72000" cy="90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9" name="Espace réservé pour une image  38"/>
          <p:cNvSpPr>
            <a:spLocks noGrp="1"/>
          </p:cNvSpPr>
          <p:nvPr>
            <p:ph type="pic" sz="quarter" idx="10"/>
          </p:nvPr>
        </p:nvSpPr>
        <p:spPr>
          <a:xfrm>
            <a:off x="3692159" y="3033703"/>
            <a:ext cx="1584000" cy="1584176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38" name="Espace réservé du texte 37"/>
          <p:cNvSpPr>
            <a:spLocks noGrp="1"/>
          </p:cNvSpPr>
          <p:nvPr>
            <p:ph type="body" sz="quarter" idx="11"/>
          </p:nvPr>
        </p:nvSpPr>
        <p:spPr>
          <a:xfrm>
            <a:off x="476099" y="2393168"/>
            <a:ext cx="1503613" cy="806450"/>
          </a:xfrm>
        </p:spPr>
        <p:txBody>
          <a:bodyPr/>
          <a:lstStyle>
            <a:lvl1pPr marL="0" indent="0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37"/>
          <p:cNvSpPr>
            <a:spLocks noGrp="1"/>
          </p:cNvSpPr>
          <p:nvPr>
            <p:ph type="body" sz="quarter" idx="12"/>
          </p:nvPr>
        </p:nvSpPr>
        <p:spPr>
          <a:xfrm>
            <a:off x="938971" y="4776006"/>
            <a:ext cx="1611313" cy="806450"/>
          </a:xfrm>
        </p:spPr>
        <p:txBody>
          <a:bodyPr/>
          <a:lstStyle>
            <a:lvl1pPr marL="0" indent="0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37"/>
          <p:cNvSpPr>
            <a:spLocks noGrp="1"/>
          </p:cNvSpPr>
          <p:nvPr>
            <p:ph type="body" sz="quarter" idx="13"/>
          </p:nvPr>
        </p:nvSpPr>
        <p:spPr>
          <a:xfrm>
            <a:off x="6660232" y="4776006"/>
            <a:ext cx="1513865" cy="948736"/>
          </a:xfrm>
        </p:spPr>
        <p:txBody>
          <a:bodyPr/>
          <a:lstStyle>
            <a:lvl1pPr marL="87313" indent="-87313" algn="r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37"/>
          <p:cNvSpPr>
            <a:spLocks noGrp="1"/>
          </p:cNvSpPr>
          <p:nvPr>
            <p:ph type="body" sz="quarter" idx="14"/>
          </p:nvPr>
        </p:nvSpPr>
        <p:spPr>
          <a:xfrm>
            <a:off x="7092280" y="2393168"/>
            <a:ext cx="1509363" cy="827105"/>
          </a:xfrm>
        </p:spPr>
        <p:txBody>
          <a:bodyPr/>
          <a:lstStyle>
            <a:lvl1pPr marL="87313" indent="-87313" algn="r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Espace réservé du texte 37"/>
          <p:cNvSpPr>
            <a:spLocks noGrp="1"/>
          </p:cNvSpPr>
          <p:nvPr>
            <p:ph type="body" sz="quarter" idx="16" hasCustomPrompt="1"/>
          </p:nvPr>
        </p:nvSpPr>
        <p:spPr>
          <a:xfrm>
            <a:off x="3828283" y="2338739"/>
            <a:ext cx="1298049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5" name="Espace réservé du texte 37"/>
          <p:cNvSpPr>
            <a:spLocks noGrp="1"/>
          </p:cNvSpPr>
          <p:nvPr>
            <p:ph type="body" sz="quarter" idx="17" hasCustomPrompt="1"/>
          </p:nvPr>
        </p:nvSpPr>
        <p:spPr>
          <a:xfrm rot="4260000">
            <a:off x="5123235" y="3254786"/>
            <a:ext cx="1215430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6" name="Espace réservé du texte 37"/>
          <p:cNvSpPr>
            <a:spLocks noGrp="1"/>
          </p:cNvSpPr>
          <p:nvPr>
            <p:ph type="body" sz="quarter" idx="18" hasCustomPrompt="1"/>
          </p:nvPr>
        </p:nvSpPr>
        <p:spPr>
          <a:xfrm rot="19440000">
            <a:off x="4600204" y="4695014"/>
            <a:ext cx="1310431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7" name="Espace réservé du texte 37"/>
          <p:cNvSpPr>
            <a:spLocks noGrp="1"/>
          </p:cNvSpPr>
          <p:nvPr>
            <p:ph type="body" sz="quarter" idx="19" hasCustomPrompt="1"/>
          </p:nvPr>
        </p:nvSpPr>
        <p:spPr>
          <a:xfrm rot="2124559">
            <a:off x="3111867" y="4718624"/>
            <a:ext cx="1252914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8" name="Espace réservé du texte 37"/>
          <p:cNvSpPr>
            <a:spLocks noGrp="1"/>
          </p:cNvSpPr>
          <p:nvPr>
            <p:ph type="body" sz="quarter" idx="20" hasCustomPrompt="1"/>
          </p:nvPr>
        </p:nvSpPr>
        <p:spPr>
          <a:xfrm rot="17288220">
            <a:off x="2631083" y="3263753"/>
            <a:ext cx="1204220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487895" y="1383357"/>
            <a:ext cx="72000" cy="533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1"/>
          </p:nvPr>
        </p:nvSpPr>
        <p:spPr>
          <a:xfrm>
            <a:off x="5694814" y="1406009"/>
            <a:ext cx="2968690" cy="5334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smtClean="0">
                <a:cs typeface="Calibri" pitchFamily="34" charset="0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marL="0" lvl="0" indent="0"/>
            <a:r>
              <a:rPr lang="fr-FR"/>
              <a:t>Modifiez les styles du texte du masque</a:t>
            </a:r>
          </a:p>
        </p:txBody>
      </p:sp>
      <p:sp>
        <p:nvSpPr>
          <p:cNvPr id="49" name="Titr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0797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5463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dées clés - 8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r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0797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grpSp>
        <p:nvGrpSpPr>
          <p:cNvPr id="51" name="Groupe 50"/>
          <p:cNvGrpSpPr/>
          <p:nvPr/>
        </p:nvGrpSpPr>
        <p:grpSpPr>
          <a:xfrm>
            <a:off x="1870857" y="967547"/>
            <a:ext cx="5234087" cy="5531739"/>
            <a:chOff x="1694184" y="927916"/>
            <a:chExt cx="4912616" cy="5191986"/>
          </a:xfrm>
        </p:grpSpPr>
        <p:sp>
          <p:nvSpPr>
            <p:cNvPr id="52" name="Lune 51"/>
            <p:cNvSpPr/>
            <p:nvPr/>
          </p:nvSpPr>
          <p:spPr>
            <a:xfrm rot="16200000">
              <a:off x="3646978" y="858592"/>
              <a:ext cx="734865" cy="1209885"/>
            </a:xfrm>
            <a:prstGeom prst="moon">
              <a:avLst>
                <a:gd name="adj" fmla="val 7091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3" name="Lune 52"/>
            <p:cNvSpPr/>
            <p:nvPr/>
          </p:nvSpPr>
          <p:spPr>
            <a:xfrm rot="16200000" flipH="1">
              <a:off x="3639899" y="1203910"/>
              <a:ext cx="774003" cy="1209885"/>
            </a:xfrm>
            <a:prstGeom prst="moon">
              <a:avLst>
                <a:gd name="adj" fmla="val 7091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54" name="Groupe 53"/>
            <p:cNvGrpSpPr/>
            <p:nvPr/>
          </p:nvGrpSpPr>
          <p:grpSpPr>
            <a:xfrm>
              <a:off x="2505351" y="927916"/>
              <a:ext cx="1456208" cy="2065493"/>
              <a:chOff x="2505351" y="927916"/>
              <a:chExt cx="1456208" cy="2065493"/>
            </a:xfrm>
          </p:grpSpPr>
          <p:grpSp>
            <p:nvGrpSpPr>
              <p:cNvPr id="93" name="Groupe 92"/>
              <p:cNvGrpSpPr/>
              <p:nvPr/>
            </p:nvGrpSpPr>
            <p:grpSpPr>
              <a:xfrm rot="18829475">
                <a:off x="2085231" y="1348036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5" name="Ellipse 9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6" name="Lune 9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7" name="Lune 9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94" name="Ellipse 93"/>
              <p:cNvSpPr/>
              <p:nvPr/>
            </p:nvSpPr>
            <p:spPr>
              <a:xfrm>
                <a:off x="2857379" y="1096102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5" name="Groupe 54"/>
            <p:cNvGrpSpPr/>
            <p:nvPr/>
          </p:nvGrpSpPr>
          <p:grpSpPr>
            <a:xfrm>
              <a:off x="1694184" y="2209698"/>
              <a:ext cx="1225254" cy="2065493"/>
              <a:chOff x="1694184" y="2209698"/>
              <a:chExt cx="1225254" cy="2065493"/>
            </a:xfrm>
          </p:grpSpPr>
          <p:grpSp>
            <p:nvGrpSpPr>
              <p:cNvPr id="88" name="Groupe 87"/>
              <p:cNvGrpSpPr/>
              <p:nvPr/>
            </p:nvGrpSpPr>
            <p:grpSpPr>
              <a:xfrm rot="16200000">
                <a:off x="1274064" y="2629818"/>
                <a:ext cx="2065493" cy="1225254"/>
                <a:chOff x="3723197" y="1256537"/>
                <a:chExt cx="2184755" cy="1296000"/>
              </a:xfrm>
              <a:solidFill>
                <a:schemeClr val="accent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0" name="Ellipse 89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rgbClr val="00B0F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1" name="Lune 90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00B0F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2" name="Lune 91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00B0F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89" name="Ellipse 88"/>
              <p:cNvSpPr/>
              <p:nvPr/>
            </p:nvSpPr>
            <p:spPr>
              <a:xfrm>
                <a:off x="1753199" y="2272189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6" name="Groupe 55"/>
            <p:cNvGrpSpPr/>
            <p:nvPr/>
          </p:nvGrpSpPr>
          <p:grpSpPr>
            <a:xfrm>
              <a:off x="1766993" y="3547092"/>
              <a:ext cx="1455159" cy="2065493"/>
              <a:chOff x="1766993" y="3547092"/>
              <a:chExt cx="1455159" cy="2065493"/>
            </a:xfrm>
          </p:grpSpPr>
          <p:grpSp>
            <p:nvGrpSpPr>
              <p:cNvPr id="83" name="Groupe 82"/>
              <p:cNvGrpSpPr/>
              <p:nvPr/>
            </p:nvGrpSpPr>
            <p:grpSpPr>
              <a:xfrm rot="2770525" flipH="1">
                <a:off x="1576778" y="3967212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85" name="Ellipse 8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rgbClr val="7030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6" name="Lune 8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7030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7" name="Lune 8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7030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84" name="Ellipse 83"/>
              <p:cNvSpPr/>
              <p:nvPr/>
            </p:nvSpPr>
            <p:spPr>
              <a:xfrm>
                <a:off x="1766993" y="3717033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7" name="Groupe 56"/>
            <p:cNvGrpSpPr/>
            <p:nvPr/>
          </p:nvGrpSpPr>
          <p:grpSpPr>
            <a:xfrm>
              <a:off x="2843808" y="4773687"/>
              <a:ext cx="2065493" cy="1225254"/>
              <a:chOff x="2843808" y="4773687"/>
              <a:chExt cx="2065493" cy="1225254"/>
            </a:xfrm>
          </p:grpSpPr>
          <p:grpSp>
            <p:nvGrpSpPr>
              <p:cNvPr id="78" name="Groupe 77"/>
              <p:cNvGrpSpPr/>
              <p:nvPr/>
            </p:nvGrpSpPr>
            <p:grpSpPr>
              <a:xfrm rot="10800000">
                <a:off x="2843808" y="4773687"/>
                <a:ext cx="2065493" cy="1225254"/>
                <a:chOff x="3723197" y="1256537"/>
                <a:chExt cx="2184755" cy="1296000"/>
              </a:xfr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80" name="Ellipse 79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rgbClr val="FF00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1" name="Lune 80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FF00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2" name="Lune 81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FF00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79" name="Ellipse 78"/>
              <p:cNvSpPr/>
              <p:nvPr/>
            </p:nvSpPr>
            <p:spPr>
              <a:xfrm>
                <a:off x="2904766" y="4831345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8" name="Groupe 57"/>
            <p:cNvGrpSpPr/>
            <p:nvPr/>
          </p:nvGrpSpPr>
          <p:grpSpPr>
            <a:xfrm>
              <a:off x="4343840" y="4054409"/>
              <a:ext cx="1459876" cy="2065493"/>
              <a:chOff x="4343840" y="4054409"/>
              <a:chExt cx="1459876" cy="2065493"/>
            </a:xfrm>
          </p:grpSpPr>
          <p:grpSp>
            <p:nvGrpSpPr>
              <p:cNvPr id="73" name="Groupe 72"/>
              <p:cNvGrpSpPr/>
              <p:nvPr/>
            </p:nvGrpSpPr>
            <p:grpSpPr>
              <a:xfrm rot="8029475">
                <a:off x="4158342" y="4474529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75" name="Ellipse 7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6" name="Lune 7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7" name="Lune 7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74" name="Ellipse 73"/>
              <p:cNvSpPr/>
              <p:nvPr/>
            </p:nvSpPr>
            <p:spPr>
              <a:xfrm>
                <a:off x="4343840" y="4845139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9" name="Groupe 58"/>
            <p:cNvGrpSpPr/>
            <p:nvPr/>
          </p:nvGrpSpPr>
          <p:grpSpPr>
            <a:xfrm>
              <a:off x="5381546" y="2798685"/>
              <a:ext cx="1225254" cy="2065493"/>
              <a:chOff x="5381546" y="2798685"/>
              <a:chExt cx="1225254" cy="2065493"/>
            </a:xfrm>
          </p:grpSpPr>
          <p:grpSp>
            <p:nvGrpSpPr>
              <p:cNvPr id="68" name="Groupe 67"/>
              <p:cNvGrpSpPr/>
              <p:nvPr/>
            </p:nvGrpSpPr>
            <p:grpSpPr>
              <a:xfrm rot="5400000">
                <a:off x="4961426" y="3218805"/>
                <a:ext cx="2065493" cy="1225254"/>
                <a:chOff x="3723197" y="1256537"/>
                <a:chExt cx="2184755" cy="1296000"/>
              </a:xfrm>
              <a:solidFill>
                <a:schemeClr val="accent3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70" name="Ellipse 69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1" name="Lune 70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2" name="Lune 71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69" name="Ellipse 68"/>
              <p:cNvSpPr/>
              <p:nvPr/>
            </p:nvSpPr>
            <p:spPr>
              <a:xfrm>
                <a:off x="5430232" y="3707446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60" name="Groupe 59"/>
            <p:cNvGrpSpPr/>
            <p:nvPr/>
          </p:nvGrpSpPr>
          <p:grpSpPr>
            <a:xfrm>
              <a:off x="5069996" y="1506518"/>
              <a:ext cx="1450622" cy="2065493"/>
              <a:chOff x="5069996" y="1506518"/>
              <a:chExt cx="1450622" cy="2065493"/>
            </a:xfrm>
          </p:grpSpPr>
          <p:grpSp>
            <p:nvGrpSpPr>
              <p:cNvPr id="63" name="Groupe 62"/>
              <p:cNvGrpSpPr/>
              <p:nvPr/>
            </p:nvGrpSpPr>
            <p:grpSpPr>
              <a:xfrm rot="2770525" flipV="1">
                <a:off x="4649876" y="1926638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65" name="Ellipse 6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6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6" name="Lune 6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6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7" name="Lune 6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6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64" name="Ellipse 63"/>
              <p:cNvSpPr/>
              <p:nvPr/>
            </p:nvSpPr>
            <p:spPr>
              <a:xfrm>
                <a:off x="5416438" y="2292830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61" name="Ellipse 60"/>
            <p:cNvSpPr/>
            <p:nvPr/>
          </p:nvSpPr>
          <p:spPr>
            <a:xfrm>
              <a:off x="4249707" y="1035564"/>
              <a:ext cx="1225254" cy="12252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2" name="Ellipse 61"/>
            <p:cNvSpPr/>
            <p:nvPr/>
          </p:nvSpPr>
          <p:spPr>
            <a:xfrm>
              <a:off x="4310245" y="1096101"/>
              <a:ext cx="1104180" cy="11041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3205163" y="1268413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6" name="Espace réservé du texte 6"/>
          <p:cNvSpPr>
            <a:spLocks noGrp="1"/>
          </p:cNvSpPr>
          <p:nvPr>
            <p:ph type="body" sz="quarter" idx="24" hasCustomPrompt="1"/>
          </p:nvPr>
        </p:nvSpPr>
        <p:spPr>
          <a:xfrm>
            <a:off x="4743086" y="1266642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7" name="Espace réservé du texte 6"/>
          <p:cNvSpPr>
            <a:spLocks noGrp="1"/>
          </p:cNvSpPr>
          <p:nvPr>
            <p:ph type="body" sz="quarter" idx="25" hasCustomPrompt="1"/>
          </p:nvPr>
        </p:nvSpPr>
        <p:spPr>
          <a:xfrm>
            <a:off x="5927002" y="2541683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8" name="Espace réservé du texte 6"/>
          <p:cNvSpPr>
            <a:spLocks noGrp="1"/>
          </p:cNvSpPr>
          <p:nvPr>
            <p:ph type="body" sz="quarter" idx="26" hasCustomPrompt="1"/>
          </p:nvPr>
        </p:nvSpPr>
        <p:spPr>
          <a:xfrm>
            <a:off x="5948990" y="4065549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9" name="Espace réservé du texte 6"/>
          <p:cNvSpPr>
            <a:spLocks noGrp="1"/>
          </p:cNvSpPr>
          <p:nvPr>
            <p:ph type="body" sz="quarter" idx="27" hasCustomPrompt="1"/>
          </p:nvPr>
        </p:nvSpPr>
        <p:spPr>
          <a:xfrm>
            <a:off x="4773025" y="5275686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0" name="Espace réservé du texte 6"/>
          <p:cNvSpPr>
            <a:spLocks noGrp="1"/>
          </p:cNvSpPr>
          <p:nvPr>
            <p:ph type="body" sz="quarter" idx="28" hasCustomPrompt="1"/>
          </p:nvPr>
        </p:nvSpPr>
        <p:spPr>
          <a:xfrm>
            <a:off x="3245636" y="5261009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1" name="Espace réservé du texte 6"/>
          <p:cNvSpPr>
            <a:spLocks noGrp="1"/>
          </p:cNvSpPr>
          <p:nvPr>
            <p:ph type="body" sz="quarter" idx="29" hasCustomPrompt="1"/>
          </p:nvPr>
        </p:nvSpPr>
        <p:spPr>
          <a:xfrm>
            <a:off x="2018713" y="4077383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2" name="Espace réservé du texte 6"/>
          <p:cNvSpPr>
            <a:spLocks noGrp="1"/>
          </p:cNvSpPr>
          <p:nvPr>
            <p:ph type="body" sz="quarter" idx="30" hasCustomPrompt="1"/>
          </p:nvPr>
        </p:nvSpPr>
        <p:spPr>
          <a:xfrm>
            <a:off x="2018713" y="2528776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087509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idées en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6620151" y="3974284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13" name="Ellipse 12"/>
          <p:cNvSpPr/>
          <p:nvPr/>
        </p:nvSpPr>
        <p:spPr bwMode="auto">
          <a:xfrm>
            <a:off x="7130216" y="3709851"/>
            <a:ext cx="662896" cy="662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015" y="3883477"/>
            <a:ext cx="289363" cy="28922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 bwMode="auto">
          <a:xfrm>
            <a:off x="6620151" y="1687365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17" name="Ellipse 16"/>
          <p:cNvSpPr/>
          <p:nvPr/>
        </p:nvSpPr>
        <p:spPr bwMode="auto">
          <a:xfrm>
            <a:off x="7130216" y="1522277"/>
            <a:ext cx="662896" cy="662642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9888" y="1719256"/>
            <a:ext cx="289363" cy="279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/>
        </p:nvSpPr>
        <p:spPr bwMode="auto">
          <a:xfrm>
            <a:off x="978176" y="1687365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22" name="Ellipse 21"/>
          <p:cNvSpPr/>
          <p:nvPr/>
        </p:nvSpPr>
        <p:spPr bwMode="auto">
          <a:xfrm>
            <a:off x="1488241" y="1522277"/>
            <a:ext cx="662896" cy="6626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8241" y="1724311"/>
            <a:ext cx="382895" cy="2585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Rectangle 24"/>
          <p:cNvSpPr/>
          <p:nvPr/>
        </p:nvSpPr>
        <p:spPr bwMode="auto">
          <a:xfrm>
            <a:off x="2859238" y="1687365"/>
            <a:ext cx="1681564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26" name="Ellipse 25"/>
          <p:cNvSpPr/>
          <p:nvPr/>
        </p:nvSpPr>
        <p:spPr bwMode="auto">
          <a:xfrm>
            <a:off x="3368860" y="1522277"/>
            <a:ext cx="662320" cy="66264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600"/>
          </a:p>
        </p:txBody>
      </p:sp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9402" y="1695124"/>
            <a:ext cx="321236" cy="29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Rectangle 28"/>
          <p:cNvSpPr/>
          <p:nvPr/>
        </p:nvSpPr>
        <p:spPr bwMode="auto">
          <a:xfrm>
            <a:off x="4738964" y="1687365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30" name="Ellipse 29"/>
          <p:cNvSpPr/>
          <p:nvPr/>
        </p:nvSpPr>
        <p:spPr bwMode="auto">
          <a:xfrm>
            <a:off x="5249029" y="1522277"/>
            <a:ext cx="662896" cy="6626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600"/>
          </a:p>
        </p:txBody>
      </p:sp>
      <p:pic>
        <p:nvPicPr>
          <p:cNvPr id="3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6025" y="1701046"/>
            <a:ext cx="268903" cy="289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 bwMode="auto">
          <a:xfrm>
            <a:off x="978378" y="3974284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34" name="Ellipse 33"/>
          <p:cNvSpPr/>
          <p:nvPr/>
        </p:nvSpPr>
        <p:spPr bwMode="auto">
          <a:xfrm>
            <a:off x="1488443" y="3709851"/>
            <a:ext cx="662896" cy="66258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35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4247" y="3896530"/>
            <a:ext cx="311284" cy="28922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Rectangle 36"/>
          <p:cNvSpPr/>
          <p:nvPr/>
        </p:nvSpPr>
        <p:spPr bwMode="auto">
          <a:xfrm>
            <a:off x="2859238" y="3974284"/>
            <a:ext cx="1681564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38" name="Ellipse 37"/>
          <p:cNvSpPr/>
          <p:nvPr/>
        </p:nvSpPr>
        <p:spPr bwMode="auto">
          <a:xfrm>
            <a:off x="3368860" y="3709851"/>
            <a:ext cx="662320" cy="6625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39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8254" y="3937430"/>
            <a:ext cx="289112" cy="207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Rectangle 40"/>
          <p:cNvSpPr/>
          <p:nvPr/>
        </p:nvSpPr>
        <p:spPr bwMode="auto">
          <a:xfrm>
            <a:off x="4738964" y="3974284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42" name="Ellipse 41"/>
          <p:cNvSpPr/>
          <p:nvPr/>
        </p:nvSpPr>
        <p:spPr bwMode="auto">
          <a:xfrm>
            <a:off x="5249029" y="3709851"/>
            <a:ext cx="662896" cy="6625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43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0680" y="3870237"/>
            <a:ext cx="299593" cy="341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7" name="Espace réservé du texte 46"/>
          <p:cNvSpPr>
            <a:spLocks noGrp="1"/>
          </p:cNvSpPr>
          <p:nvPr>
            <p:ph type="body" sz="quarter" idx="10" hasCustomPrompt="1"/>
          </p:nvPr>
        </p:nvSpPr>
        <p:spPr>
          <a:xfrm>
            <a:off x="1061280" y="2503743"/>
            <a:ext cx="1524003" cy="861601"/>
          </a:xfrm>
        </p:spPr>
        <p:txBody>
          <a:bodyPr/>
          <a:lstStyle>
            <a:lvl1pPr marL="0" indent="0" algn="ctr">
              <a:buNone/>
              <a:defRPr lang="fr-FR" sz="14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8" name="Espace réservé du texte 46"/>
          <p:cNvSpPr>
            <a:spLocks noGrp="1"/>
          </p:cNvSpPr>
          <p:nvPr>
            <p:ph type="body" sz="quarter" idx="11" hasCustomPrompt="1"/>
          </p:nvPr>
        </p:nvSpPr>
        <p:spPr>
          <a:xfrm>
            <a:off x="2936438" y="2503743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49" name="Espace réservé du texte 46"/>
          <p:cNvSpPr>
            <a:spLocks noGrp="1"/>
          </p:cNvSpPr>
          <p:nvPr>
            <p:ph type="body" sz="quarter" idx="12" hasCustomPrompt="1"/>
          </p:nvPr>
        </p:nvSpPr>
        <p:spPr>
          <a:xfrm>
            <a:off x="4811596" y="2503743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0" name="Espace réservé du texte 46"/>
          <p:cNvSpPr>
            <a:spLocks noGrp="1"/>
          </p:cNvSpPr>
          <p:nvPr>
            <p:ph type="body" sz="quarter" idx="13" hasCustomPrompt="1"/>
          </p:nvPr>
        </p:nvSpPr>
        <p:spPr>
          <a:xfrm>
            <a:off x="6686755" y="2503743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1" name="Espace réservé du texte 46"/>
          <p:cNvSpPr>
            <a:spLocks noGrp="1"/>
          </p:cNvSpPr>
          <p:nvPr>
            <p:ph type="body" sz="quarter" idx="14" hasCustomPrompt="1"/>
          </p:nvPr>
        </p:nvSpPr>
        <p:spPr>
          <a:xfrm>
            <a:off x="1065902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2" name="Espace réservé du texte 46"/>
          <p:cNvSpPr>
            <a:spLocks noGrp="1"/>
          </p:cNvSpPr>
          <p:nvPr>
            <p:ph type="body" sz="quarter" idx="15" hasCustomPrompt="1"/>
          </p:nvPr>
        </p:nvSpPr>
        <p:spPr>
          <a:xfrm>
            <a:off x="2941060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3" name="Espace réservé du texte 46"/>
          <p:cNvSpPr>
            <a:spLocks noGrp="1"/>
          </p:cNvSpPr>
          <p:nvPr>
            <p:ph type="body" sz="quarter" idx="16" hasCustomPrompt="1"/>
          </p:nvPr>
        </p:nvSpPr>
        <p:spPr>
          <a:xfrm>
            <a:off x="4816218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4" name="Espace réservé du texte 46"/>
          <p:cNvSpPr>
            <a:spLocks noGrp="1"/>
          </p:cNvSpPr>
          <p:nvPr>
            <p:ph type="body" sz="quarter" idx="17" hasCustomPrompt="1"/>
          </p:nvPr>
        </p:nvSpPr>
        <p:spPr>
          <a:xfrm>
            <a:off x="6691377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62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4766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C95F91A-6A80-4A07-A58E-543F14E71B4E}" type="datetimeFigureOut">
              <a:rPr lang="fr-FR" smtClean="0"/>
              <a:t>23/08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DAD8DAB-0038-414E-813D-63B398139E6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983395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65219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043608" y="1738824"/>
            <a:ext cx="3456384" cy="2039451"/>
          </a:xfrm>
          <a:prstGeom prst="roundRect">
            <a:avLst>
              <a:gd name="adj" fmla="val 804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572000" y="1757138"/>
            <a:ext cx="3456384" cy="2039451"/>
          </a:xfrm>
          <a:prstGeom prst="roundRect">
            <a:avLst>
              <a:gd name="adj" fmla="val 68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043608" y="3850283"/>
            <a:ext cx="3456384" cy="2039451"/>
          </a:xfrm>
          <a:prstGeom prst="roundRect">
            <a:avLst>
              <a:gd name="adj" fmla="val 804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572000" y="3850283"/>
            <a:ext cx="3456384" cy="2039451"/>
          </a:xfrm>
          <a:prstGeom prst="roundRect">
            <a:avLst>
              <a:gd name="adj" fmla="val 804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5220072" y="1213263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FAIBLESSES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1619250" y="1196752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FORCES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5148486" y="5883018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OPPORTUNITES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1547664" y="5866507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MENACES</a:t>
            </a:r>
          </a:p>
        </p:txBody>
      </p:sp>
      <p:sp>
        <p:nvSpPr>
          <p:cNvPr id="12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2443" y="2532039"/>
            <a:ext cx="2016226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INTERNES</a:t>
            </a:r>
          </a:p>
        </p:txBody>
      </p:sp>
      <p:sp>
        <p:nvSpPr>
          <p:cNvPr id="13" name="Espace réservé du texte 20"/>
          <p:cNvSpPr>
            <a:spLocks noGrp="1"/>
          </p:cNvSpPr>
          <p:nvPr>
            <p:ph type="body" sz="quarter" idx="19" hasCustomPrompt="1"/>
          </p:nvPr>
        </p:nvSpPr>
        <p:spPr>
          <a:xfrm rot="16200000">
            <a:off x="-302444" y="4620271"/>
            <a:ext cx="2016226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EXTERNES</a:t>
            </a:r>
          </a:p>
        </p:txBody>
      </p:sp>
    </p:spTree>
    <p:extLst>
      <p:ext uri="{BB962C8B-B14F-4D97-AF65-F5344CB8AC3E}">
        <p14:creationId xmlns:p14="http://schemas.microsoft.com/office/powerpoint/2010/main" val="1406001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 cercles -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llipse 2"/>
          <p:cNvSpPr/>
          <p:nvPr/>
        </p:nvSpPr>
        <p:spPr>
          <a:xfrm>
            <a:off x="991102" y="1655806"/>
            <a:ext cx="2284754" cy="2284754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99861" y="1889702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5" name="Ellipse 4"/>
          <p:cNvSpPr/>
          <p:nvPr/>
        </p:nvSpPr>
        <p:spPr>
          <a:xfrm>
            <a:off x="3439374" y="1616223"/>
            <a:ext cx="2284754" cy="228475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3648133" y="1824982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7" name="Ellipse 6"/>
          <p:cNvSpPr/>
          <p:nvPr/>
        </p:nvSpPr>
        <p:spPr>
          <a:xfrm>
            <a:off x="6012160" y="1616223"/>
            <a:ext cx="2284754" cy="2284754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6220919" y="1824982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5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9" name="Ellipse 8"/>
          <p:cNvSpPr/>
          <p:nvPr/>
        </p:nvSpPr>
        <p:spPr>
          <a:xfrm>
            <a:off x="2215238" y="3645024"/>
            <a:ext cx="2284754" cy="2284754"/>
          </a:xfrm>
          <a:prstGeom prst="ellipse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2423997" y="3853783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3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1" name="Ellipse 10"/>
          <p:cNvSpPr/>
          <p:nvPr/>
        </p:nvSpPr>
        <p:spPr>
          <a:xfrm>
            <a:off x="4716016" y="3645024"/>
            <a:ext cx="2284754" cy="2284754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4924775" y="3853783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1283677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thèmes - 3 arg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2334004" y="1627563"/>
            <a:ext cx="1440160" cy="1369389"/>
          </a:xfr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200" b="1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Argument 1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2334004" y="3068960"/>
            <a:ext cx="1440160" cy="1369389"/>
          </a:xfr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Argument 2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2334004" y="4535624"/>
            <a:ext cx="1440160" cy="1369389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Argument 3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0" y="2935556"/>
            <a:ext cx="1675518" cy="1686581"/>
          </a:xfr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3846172" y="1627563"/>
            <a:ext cx="1440160" cy="1369389"/>
          </a:xfr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8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846172" y="3068960"/>
            <a:ext cx="1440160" cy="1369389"/>
          </a:xfr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8000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3846172" y="4535624"/>
            <a:ext cx="1440160" cy="1369389"/>
          </a:xfr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8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5358340" y="1627563"/>
            <a:ext cx="1440160" cy="1369389"/>
          </a:xfr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8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5358340" y="3068960"/>
            <a:ext cx="1440160" cy="1369389"/>
          </a:xfr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8000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19"/>
          </p:nvPr>
        </p:nvSpPr>
        <p:spPr>
          <a:xfrm>
            <a:off x="5358340" y="4535624"/>
            <a:ext cx="1440160" cy="1369389"/>
          </a:xfr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8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6870508" y="1627563"/>
            <a:ext cx="1440160" cy="1369389"/>
          </a:xfr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8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6870508" y="3068960"/>
            <a:ext cx="1440160" cy="1369389"/>
          </a:xfr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8000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1"/>
          <p:cNvSpPr>
            <a:spLocks noGrp="1"/>
          </p:cNvSpPr>
          <p:nvPr>
            <p:ph type="body" sz="quarter" idx="22"/>
          </p:nvPr>
        </p:nvSpPr>
        <p:spPr>
          <a:xfrm>
            <a:off x="6870508" y="4535624"/>
            <a:ext cx="1440160" cy="1369389"/>
          </a:xfr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8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2596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avec blocs -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145650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139253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132856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8044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2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6256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3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28800"/>
            <a:ext cx="2376487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baseline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1</a:t>
            </a:r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34881"/>
            <a:ext cx="2376487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2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0962"/>
            <a:ext cx="2376487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3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7481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39740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idées avec blocs -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145650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139253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132856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8044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2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6256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3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28800"/>
            <a:ext cx="2376487" cy="504825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baseline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1</a:t>
            </a:r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34881"/>
            <a:ext cx="2376487" cy="504825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2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0962"/>
            <a:ext cx="2376487" cy="504825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3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7481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212833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dées avec blocs -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472080" y="1628800"/>
            <a:ext cx="3833659" cy="432048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44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4860588" y="1629437"/>
            <a:ext cx="3833659" cy="432048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44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467544" y="1196752"/>
            <a:ext cx="3852000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b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1</a:t>
            </a:r>
          </a:p>
        </p:txBody>
      </p:sp>
      <p:sp>
        <p:nvSpPr>
          <p:cNvPr id="6" name="Espace réservé du texte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60032" y="1196752"/>
            <a:ext cx="3852000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b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2</a:t>
            </a:r>
          </a:p>
        </p:txBody>
      </p:sp>
    </p:spTree>
    <p:extLst>
      <p:ext uri="{BB962C8B-B14F-4D97-AF65-F5344CB8AC3E}">
        <p14:creationId xmlns:p14="http://schemas.microsoft.com/office/powerpoint/2010/main" val="4264914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avec blocs -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473894" y="1484784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4718386" y="1485421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contenu 6"/>
          <p:cNvSpPr>
            <a:spLocks noGrp="1"/>
          </p:cNvSpPr>
          <p:nvPr>
            <p:ph sz="quarter" idx="12"/>
          </p:nvPr>
        </p:nvSpPr>
        <p:spPr>
          <a:xfrm>
            <a:off x="472087" y="4221088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4716579" y="4221725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54843" y="1196753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4710572" y="1196752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12"/>
          <p:cNvSpPr>
            <a:spLocks noGrp="1"/>
          </p:cNvSpPr>
          <p:nvPr>
            <p:ph type="body" sz="quarter" idx="16"/>
          </p:nvPr>
        </p:nvSpPr>
        <p:spPr>
          <a:xfrm>
            <a:off x="446335" y="3905556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2"/>
          <p:cNvSpPr>
            <a:spLocks noGrp="1"/>
          </p:cNvSpPr>
          <p:nvPr>
            <p:ph type="body" sz="quarter" idx="17"/>
          </p:nvPr>
        </p:nvSpPr>
        <p:spPr>
          <a:xfrm>
            <a:off x="4702064" y="3905555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1574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idées avec blocs -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473894" y="1484784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4718386" y="1485421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contenu 6"/>
          <p:cNvSpPr>
            <a:spLocks noGrp="1"/>
          </p:cNvSpPr>
          <p:nvPr>
            <p:ph sz="quarter" idx="12"/>
          </p:nvPr>
        </p:nvSpPr>
        <p:spPr>
          <a:xfrm>
            <a:off x="472087" y="4221088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4716579" y="4221725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54843" y="1196753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4710572" y="1196752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12"/>
          <p:cNvSpPr>
            <a:spLocks noGrp="1"/>
          </p:cNvSpPr>
          <p:nvPr>
            <p:ph type="body" sz="quarter" idx="16"/>
          </p:nvPr>
        </p:nvSpPr>
        <p:spPr>
          <a:xfrm>
            <a:off x="446335" y="3905556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2"/>
          <p:cNvSpPr>
            <a:spLocks noGrp="1"/>
          </p:cNvSpPr>
          <p:nvPr>
            <p:ph type="body" sz="quarter" idx="17"/>
          </p:nvPr>
        </p:nvSpPr>
        <p:spPr>
          <a:xfrm>
            <a:off x="4702064" y="3905555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09713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 marL="266700" marR="0" indent="-26670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60000"/>
              <a:buFont typeface="Wingdings" pitchFamily="2" charset="2"/>
              <a:buChar char="l"/>
              <a:tabLst>
                <a:tab pos="8070850" algn="l"/>
              </a:tabLst>
              <a:defRPr sz="1600" b="1"/>
            </a:lvl1pPr>
            <a:lvl2pPr marL="542925" marR="0" indent="-274638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7F7F7F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 sz="1600"/>
            </a:lvl2pPr>
            <a:lvl3pPr marL="809625" marR="0" indent="-265113" algn="l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6175B3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 sz="1600"/>
            </a:lvl3pPr>
            <a:lvl4pPr marL="1047750" marR="0" indent="-236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>
                <a:tab pos="8070850" algn="l"/>
              </a:tabLst>
              <a:defRPr sz="1600"/>
            </a:lvl4pPr>
            <a:lvl5pPr marL="1228725" marR="0" indent="-179388" algn="l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Arial" pitchFamily="34" charset="0"/>
              <a:buChar char="-"/>
              <a:tabLst>
                <a:tab pos="8070850" algn="l"/>
              </a:tabLst>
              <a:defRPr sz="1600"/>
            </a:lvl5pPr>
          </a:lstStyle>
          <a:p>
            <a:pPr marL="266700" marR="0" lvl="0" indent="-26670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60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85B96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Cliquez pour modifier les styles du texte du masque</a:t>
            </a:r>
          </a:p>
          <a:p>
            <a:pPr marL="542925" marR="0" lvl="1" indent="-274638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7F7F7F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Deuxième niveau</a:t>
            </a:r>
          </a:p>
          <a:p>
            <a:pPr marL="809625" marR="0" lvl="2" indent="-265113" algn="l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6175B3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Troisième niveau</a:t>
            </a:r>
          </a:p>
          <a:p>
            <a:pPr marL="1047750" marR="0" lvl="3" indent="-236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Quatrième niveau</a:t>
            </a:r>
          </a:p>
          <a:p>
            <a:pPr marL="1228725" marR="0" lvl="4" indent="-179388" algn="l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92374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arguments + 3 bénéfices - Vert &amp;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entagone 45"/>
          <p:cNvSpPr/>
          <p:nvPr/>
        </p:nvSpPr>
        <p:spPr>
          <a:xfrm>
            <a:off x="1" y="1198562"/>
            <a:ext cx="9144000" cy="4751387"/>
          </a:xfrm>
          <a:prstGeom prst="homePlate">
            <a:avLst>
              <a:gd name="adj" fmla="val 15904"/>
            </a:avLst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6000">
                <a:schemeClr val="tx2">
                  <a:lumMod val="60000"/>
                  <a:lumOff val="40000"/>
                  <a:alpha val="41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54" name="Pentagone 53"/>
          <p:cNvSpPr/>
          <p:nvPr/>
        </p:nvSpPr>
        <p:spPr>
          <a:xfrm>
            <a:off x="1749717" y="3429000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11"/>
          <p:cNvSpPr>
            <a:spLocks noGrp="1"/>
          </p:cNvSpPr>
          <p:nvPr>
            <p:ph type="body" sz="quarter" idx="23" hasCustomPrompt="1"/>
          </p:nvPr>
        </p:nvSpPr>
        <p:spPr>
          <a:xfrm>
            <a:off x="3239768" y="3443514"/>
            <a:ext cx="2772392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171450" indent="-171450" algn="l">
              <a:buFont typeface="Arial" panose="020B0604020202020204" pitchFamily="34" charset="0"/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2" name="Pentagone 51"/>
          <p:cNvSpPr/>
          <p:nvPr/>
        </p:nvSpPr>
        <p:spPr>
          <a:xfrm>
            <a:off x="1749717" y="463862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22" hasCustomPrompt="1"/>
          </p:nvPr>
        </p:nvSpPr>
        <p:spPr>
          <a:xfrm>
            <a:off x="2757741" y="465313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1" name="Pentagone 50"/>
          <p:cNvSpPr/>
          <p:nvPr/>
        </p:nvSpPr>
        <p:spPr>
          <a:xfrm>
            <a:off x="1691768" y="211834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fr-FR" dirty="0"/>
          </a:p>
        </p:txBody>
      </p:sp>
      <p:sp>
        <p:nvSpPr>
          <p:cNvPr id="7" name="Ellipse 6"/>
          <p:cNvSpPr/>
          <p:nvPr/>
        </p:nvSpPr>
        <p:spPr>
          <a:xfrm>
            <a:off x="143768" y="2237289"/>
            <a:ext cx="3096000" cy="3096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65768" y="2759289"/>
            <a:ext cx="2052000" cy="205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36"/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5580112" y="3290985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2" name="Espace réservé du texte 36"/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5541494" y="4521122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37" name="Espace réservé du texte 36"/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5618730" y="2060848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8" name="Espace réservé du texte 47"/>
          <p:cNvSpPr>
            <a:spLocks noGrp="1"/>
          </p:cNvSpPr>
          <p:nvPr>
            <p:ph type="body" sz="quarter" idx="20" hasCustomPrompt="1"/>
          </p:nvPr>
        </p:nvSpPr>
        <p:spPr>
          <a:xfrm>
            <a:off x="467544" y="5949950"/>
            <a:ext cx="8064896" cy="503238"/>
          </a:xfrm>
        </p:spPr>
        <p:txBody>
          <a:bodyPr>
            <a:norm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21" hasCustomPrompt="1"/>
          </p:nvPr>
        </p:nvSpPr>
        <p:spPr>
          <a:xfrm>
            <a:off x="2699792" y="213285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3600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6" name="Titr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70194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arguments + 3 bénéfices -  Bleu &amp;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entagone 45"/>
          <p:cNvSpPr/>
          <p:nvPr/>
        </p:nvSpPr>
        <p:spPr>
          <a:xfrm>
            <a:off x="1" y="1198562"/>
            <a:ext cx="9144000" cy="4751387"/>
          </a:xfrm>
          <a:prstGeom prst="homePlate">
            <a:avLst>
              <a:gd name="adj" fmla="val 15904"/>
            </a:avLst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6000">
                <a:schemeClr val="tx2">
                  <a:lumMod val="60000"/>
                  <a:lumOff val="40000"/>
                  <a:alpha val="41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54" name="Pentagone 53"/>
          <p:cNvSpPr/>
          <p:nvPr/>
        </p:nvSpPr>
        <p:spPr>
          <a:xfrm>
            <a:off x="1749717" y="3429000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11"/>
          <p:cNvSpPr>
            <a:spLocks noGrp="1"/>
          </p:cNvSpPr>
          <p:nvPr>
            <p:ph type="body" sz="quarter" idx="23" hasCustomPrompt="1"/>
          </p:nvPr>
        </p:nvSpPr>
        <p:spPr>
          <a:xfrm>
            <a:off x="3239768" y="3443514"/>
            <a:ext cx="2772392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171450" indent="-171450" algn="l">
              <a:buFont typeface="Arial" panose="020B0604020202020204" pitchFamily="34" charset="0"/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2" name="Pentagone 51"/>
          <p:cNvSpPr/>
          <p:nvPr/>
        </p:nvSpPr>
        <p:spPr>
          <a:xfrm>
            <a:off x="1749717" y="463862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22" hasCustomPrompt="1"/>
          </p:nvPr>
        </p:nvSpPr>
        <p:spPr>
          <a:xfrm>
            <a:off x="2757741" y="465313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1" name="Pentagone 50"/>
          <p:cNvSpPr/>
          <p:nvPr/>
        </p:nvSpPr>
        <p:spPr>
          <a:xfrm>
            <a:off x="1691768" y="211834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fr-FR" dirty="0"/>
          </a:p>
        </p:txBody>
      </p:sp>
      <p:sp>
        <p:nvSpPr>
          <p:cNvPr id="7" name="Ellipse 6"/>
          <p:cNvSpPr/>
          <p:nvPr/>
        </p:nvSpPr>
        <p:spPr>
          <a:xfrm>
            <a:off x="143768" y="2237289"/>
            <a:ext cx="3096000" cy="3096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65768" y="2759289"/>
            <a:ext cx="2052000" cy="205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36"/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5580112" y="3290985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2" name="Espace réservé du texte 36"/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5541494" y="4521122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37" name="Espace réservé du texte 36"/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5618730" y="2060848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8" name="Espace réservé du texte 47"/>
          <p:cNvSpPr>
            <a:spLocks noGrp="1"/>
          </p:cNvSpPr>
          <p:nvPr>
            <p:ph type="body" sz="quarter" idx="20" hasCustomPrompt="1"/>
          </p:nvPr>
        </p:nvSpPr>
        <p:spPr>
          <a:xfrm>
            <a:off x="467544" y="5949950"/>
            <a:ext cx="8064896" cy="503238"/>
          </a:xfrm>
        </p:spPr>
        <p:txBody>
          <a:bodyPr>
            <a:norm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21" hasCustomPrompt="1"/>
          </p:nvPr>
        </p:nvSpPr>
        <p:spPr>
          <a:xfrm>
            <a:off x="2699792" y="213285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3600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6" name="Titr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365057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611560" y="1720326"/>
            <a:ext cx="1584176" cy="1204618"/>
          </a:xfr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611560" y="3078719"/>
            <a:ext cx="1584176" cy="1204618"/>
          </a:xfr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11560" y="4437112"/>
            <a:ext cx="1584176" cy="1204618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267744" y="1720326"/>
            <a:ext cx="6336704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267744" y="3078719"/>
            <a:ext cx="6336704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267744" y="4437112"/>
            <a:ext cx="6336704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054396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611560" y="1720326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611560" y="3078719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11560" y="4437112"/>
            <a:ext cx="2160240" cy="1204618"/>
          </a:xfrm>
          <a:prstGeom prst="homePlate">
            <a:avLst>
              <a:gd name="adj" fmla="val 18858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843808" y="1720326"/>
            <a:ext cx="5760640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843808" y="3078719"/>
            <a:ext cx="5760640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843808" y="4437112"/>
            <a:ext cx="5760640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16597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idé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611560" y="1720326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611560" y="3078719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11560" y="4437112"/>
            <a:ext cx="2160240" cy="1204618"/>
          </a:xfrm>
          <a:prstGeom prst="homePlate">
            <a:avLst>
              <a:gd name="adj" fmla="val 18858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843808" y="1720326"/>
            <a:ext cx="5760640" cy="1204618"/>
          </a:xfrm>
          <a:noFill/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843808" y="3078719"/>
            <a:ext cx="5760640" cy="1204618"/>
          </a:xfr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843808" y="4437112"/>
            <a:ext cx="5760640" cy="1204618"/>
          </a:xfr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611560" y="1665639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/>
        </p:nvCxnSpPr>
        <p:spPr>
          <a:xfrm>
            <a:off x="611560" y="3008675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611560" y="4363434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/>
        </p:nvCxnSpPr>
        <p:spPr>
          <a:xfrm>
            <a:off x="611560" y="5729916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6507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33" y="213285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176794" y="213285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444208" y="213285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33" y="321297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76794" y="321297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444208" y="321297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33" y="429309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176794" y="429309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444208" y="429309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/>
          </p:nvPr>
        </p:nvSpPr>
        <p:spPr>
          <a:xfrm>
            <a:off x="1907733" y="537321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176794" y="537321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6444208" y="537321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2555894" y="548779"/>
            <a:ext cx="863877" cy="2160261"/>
          </a:xfrm>
          <a:prstGeom prst="homePlate">
            <a:avLst>
              <a:gd name="adj" fmla="val 2119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5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4824964" y="548783"/>
            <a:ext cx="863871" cy="2160261"/>
          </a:xfrm>
          <a:prstGeom prst="homePlate">
            <a:avLst>
              <a:gd name="adj" fmla="val 2119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7092382" y="548782"/>
            <a:ext cx="863872" cy="2160261"/>
          </a:xfrm>
          <a:prstGeom prst="homePlate">
            <a:avLst>
              <a:gd name="adj" fmla="val 2119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 hasCustomPrompt="1"/>
          </p:nvPr>
        </p:nvSpPr>
        <p:spPr>
          <a:xfrm>
            <a:off x="468312" y="213285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468312" y="321297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 hasCustomPrompt="1"/>
          </p:nvPr>
        </p:nvSpPr>
        <p:spPr>
          <a:xfrm>
            <a:off x="468312" y="429309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468312" y="537321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971478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41" y="2204864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211960" y="2204864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16215" y="2204864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41" y="3608760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211960" y="3608760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516215" y="3608760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41" y="5012655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211960" y="5012655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516215" y="5012655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2555791" y="548666"/>
            <a:ext cx="936104" cy="2232277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5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4860014" y="548666"/>
            <a:ext cx="936104" cy="2232277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7164273" y="548666"/>
            <a:ext cx="936104" cy="2232277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 hasCustomPrompt="1"/>
          </p:nvPr>
        </p:nvSpPr>
        <p:spPr>
          <a:xfrm>
            <a:off x="468312" y="2204864"/>
            <a:ext cx="1367383" cy="1295943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468312" y="3608760"/>
            <a:ext cx="1367383" cy="1295943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 hasCustomPrompt="1"/>
          </p:nvPr>
        </p:nvSpPr>
        <p:spPr>
          <a:xfrm>
            <a:off x="468312" y="5012655"/>
            <a:ext cx="1367383" cy="1295943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7853064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33" y="177281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176794" y="177281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444208" y="177281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33" y="285293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76794" y="285293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444208" y="285293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33" y="393305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176794" y="393305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444208" y="393305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/>
          </p:nvPr>
        </p:nvSpPr>
        <p:spPr>
          <a:xfrm>
            <a:off x="1907733" y="501317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176794" y="501317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6444208" y="501317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2771809" y="332646"/>
            <a:ext cx="432049" cy="216026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5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5040876" y="332648"/>
            <a:ext cx="432047" cy="2160261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7308294" y="332648"/>
            <a:ext cx="432047" cy="2160261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 hasCustomPrompt="1"/>
          </p:nvPr>
        </p:nvSpPr>
        <p:spPr>
          <a:xfrm>
            <a:off x="468312" y="177281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468312" y="285293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 hasCustomPrompt="1"/>
          </p:nvPr>
        </p:nvSpPr>
        <p:spPr>
          <a:xfrm>
            <a:off x="468312" y="393305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468312" y="501317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390782" y="278092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390782" y="386104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/>
          <p:cNvCxnSpPr/>
          <p:nvPr/>
        </p:nvCxnSpPr>
        <p:spPr>
          <a:xfrm>
            <a:off x="390782" y="494116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>
            <a:off x="390782" y="602128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390782" y="170080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0050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alons projet - 5 da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1216652" y="4602477"/>
            <a:ext cx="7789448" cy="648072"/>
            <a:chOff x="1187624" y="4653136"/>
            <a:chExt cx="7789448" cy="648072"/>
          </a:xfrm>
          <a:effectLst>
            <a:reflection blurRad="6350" stA="50000" endA="300" endPos="90000" dir="5400000" sy="-100000" algn="bl" rotWithShape="0"/>
          </a:effectLst>
          <a:scene3d>
            <a:camera prst="perspectiveFront" fov="3300000">
              <a:rot lat="600000" lon="19200000" rev="0"/>
            </a:camera>
            <a:lightRig rig="threePt" dir="t"/>
          </a:scene3d>
        </p:grpSpPr>
        <p:sp>
          <p:nvSpPr>
            <p:cNvPr id="4" name="Pentagone 3"/>
            <p:cNvSpPr/>
            <p:nvPr/>
          </p:nvSpPr>
          <p:spPr>
            <a:xfrm>
              <a:off x="1187624" y="4653136"/>
              <a:ext cx="1398214" cy="648072"/>
            </a:xfrm>
            <a:prstGeom prst="homePlat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5" name="Chevron 4"/>
            <p:cNvSpPr/>
            <p:nvPr/>
          </p:nvSpPr>
          <p:spPr>
            <a:xfrm>
              <a:off x="2446016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6" name="Chevron 5"/>
            <p:cNvSpPr/>
            <p:nvPr/>
          </p:nvSpPr>
          <p:spPr>
            <a:xfrm>
              <a:off x="3536623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7" name="Chevron 6"/>
            <p:cNvSpPr/>
            <p:nvPr/>
          </p:nvSpPr>
          <p:spPr>
            <a:xfrm>
              <a:off x="4627229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8" name="Chevron 7"/>
            <p:cNvSpPr/>
            <p:nvPr/>
          </p:nvSpPr>
          <p:spPr>
            <a:xfrm>
              <a:off x="5717836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9" name="Chevron 8"/>
            <p:cNvSpPr/>
            <p:nvPr/>
          </p:nvSpPr>
          <p:spPr>
            <a:xfrm>
              <a:off x="6732240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0" name="Chevron 9"/>
            <p:cNvSpPr/>
            <p:nvPr/>
          </p:nvSpPr>
          <p:spPr>
            <a:xfrm>
              <a:off x="7746644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1036632" y="3990409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indent="0" algn="ctr">
              <a:buNone/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JALON N°1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2332776" y="3846534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2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 rot="16200000">
            <a:off x="3628920" y="3702518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3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 rot="16200000">
            <a:off x="4853056" y="3608739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4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 rot="16200000">
            <a:off x="6149200" y="3486494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5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30" hasCustomPrompt="1"/>
          </p:nvPr>
        </p:nvSpPr>
        <p:spPr>
          <a:xfrm>
            <a:off x="1494718" y="2204864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8" name="Espace réservé du texte 8"/>
          <p:cNvSpPr>
            <a:spLocks noGrp="1"/>
          </p:cNvSpPr>
          <p:nvPr>
            <p:ph type="body" sz="quarter" idx="31" hasCustomPrompt="1"/>
          </p:nvPr>
        </p:nvSpPr>
        <p:spPr>
          <a:xfrm>
            <a:off x="2764824" y="2132856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32" hasCustomPrompt="1"/>
          </p:nvPr>
        </p:nvSpPr>
        <p:spPr>
          <a:xfrm>
            <a:off x="4034930" y="2017306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0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5305036" y="1945298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1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6575142" y="1807977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4" name="Espace réservé du texte 47"/>
          <p:cNvSpPr>
            <a:spLocks noGrp="1"/>
          </p:cNvSpPr>
          <p:nvPr>
            <p:ph type="body" sz="quarter" idx="20" hasCustomPrompt="1"/>
          </p:nvPr>
        </p:nvSpPr>
        <p:spPr>
          <a:xfrm>
            <a:off x="976885" y="1211939"/>
            <a:ext cx="7340028" cy="416835"/>
          </a:xfrm>
        </p:spPr>
        <p:txBody>
          <a:bodyPr>
            <a:normAutofit/>
          </a:bodyPr>
          <a:lstStyle>
            <a:lvl1pPr marL="0" indent="0" algn="ctr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8241879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nning activit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946143"/>
              </p:ext>
            </p:extLst>
          </p:nvPr>
        </p:nvGraphicFramePr>
        <p:xfrm>
          <a:off x="312046" y="1268760"/>
          <a:ext cx="8508426" cy="5027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6637"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969"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Ja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Fev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Ma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Avri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Ma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Ju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Juill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Aou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Sept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Oct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Nov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Dec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9" name="Espace réservé du texte 8"/>
          <p:cNvSpPr>
            <a:spLocks noGrp="1"/>
          </p:cNvSpPr>
          <p:nvPr>
            <p:ph type="body" sz="quarter" idx="10" hasCustomPrompt="1"/>
          </p:nvPr>
        </p:nvSpPr>
        <p:spPr>
          <a:xfrm>
            <a:off x="312048" y="1988123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312048" y="2419587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 hasCustomPrompt="1"/>
          </p:nvPr>
        </p:nvSpPr>
        <p:spPr>
          <a:xfrm>
            <a:off x="312048" y="2851051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312048" y="3282515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312048" y="3713979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312048" y="4145443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312048" y="4576907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312048" y="5008371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312048" y="5439835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8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312048" y="5871303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1536184" y="1268763"/>
            <a:ext cx="7272808" cy="288031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Modifiez l’année</a:t>
            </a:r>
          </a:p>
        </p:txBody>
      </p:sp>
      <p:sp>
        <p:nvSpPr>
          <p:cNvPr id="26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1896224" y="2060850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2256264" y="2492898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8"/>
          <p:cNvSpPr>
            <a:spLocks noGrp="1"/>
          </p:cNvSpPr>
          <p:nvPr>
            <p:ph type="body" sz="quarter" idx="23" hasCustomPrompt="1"/>
          </p:nvPr>
        </p:nvSpPr>
        <p:spPr>
          <a:xfrm>
            <a:off x="2760320" y="2924946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8"/>
          <p:cNvSpPr>
            <a:spLocks noGrp="1"/>
          </p:cNvSpPr>
          <p:nvPr>
            <p:ph type="body" sz="quarter" idx="24" hasCustomPrompt="1"/>
          </p:nvPr>
        </p:nvSpPr>
        <p:spPr>
          <a:xfrm>
            <a:off x="3408392" y="3284986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>
            <a:off x="2904336" y="3789042"/>
            <a:ext cx="2304256" cy="360039"/>
          </a:xfrm>
          <a:prstGeom prst="left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2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3264376" y="4221090"/>
            <a:ext cx="2304256" cy="360039"/>
          </a:xfrm>
          <a:prstGeom prst="left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3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3768432" y="4653138"/>
            <a:ext cx="2304256" cy="360039"/>
          </a:xfrm>
          <a:prstGeom prst="left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5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>
            <a:off x="5568632" y="5013178"/>
            <a:ext cx="2304256" cy="360039"/>
          </a:xfrm>
          <a:prstGeom prst="left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6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>
            <a:off x="5928672" y="5445226"/>
            <a:ext cx="2304256" cy="360039"/>
          </a:xfrm>
          <a:prstGeom prst="left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7" name="Espace réservé du texte 8"/>
          <p:cNvSpPr>
            <a:spLocks noGrp="1"/>
          </p:cNvSpPr>
          <p:nvPr>
            <p:ph type="body" sz="quarter" idx="30" hasCustomPrompt="1"/>
          </p:nvPr>
        </p:nvSpPr>
        <p:spPr>
          <a:xfrm>
            <a:off x="6432728" y="5877274"/>
            <a:ext cx="2304256" cy="360039"/>
          </a:xfrm>
          <a:prstGeom prst="left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8" name="Espace réservé du texte 8"/>
          <p:cNvSpPr>
            <a:spLocks noGrp="1"/>
          </p:cNvSpPr>
          <p:nvPr>
            <p:ph type="body" sz="quarter" idx="31" hasCustomPrompt="1"/>
          </p:nvPr>
        </p:nvSpPr>
        <p:spPr>
          <a:xfrm rot="16200000">
            <a:off x="6828772" y="2456894"/>
            <a:ext cx="216024" cy="3024336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"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874060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/>
          <p:cNvGrpSpPr/>
          <p:nvPr/>
        </p:nvGrpSpPr>
        <p:grpSpPr>
          <a:xfrm>
            <a:off x="-11269" y="2264002"/>
            <a:ext cx="9155269" cy="4047627"/>
            <a:chOff x="-11269" y="2264002"/>
            <a:chExt cx="9155269" cy="4047627"/>
          </a:xfrm>
        </p:grpSpPr>
        <p:grpSp>
          <p:nvGrpSpPr>
            <p:cNvPr id="5" name="Groupe 4"/>
            <p:cNvGrpSpPr/>
            <p:nvPr userDrawn="1"/>
          </p:nvGrpSpPr>
          <p:grpSpPr>
            <a:xfrm>
              <a:off x="-11269" y="2264002"/>
              <a:ext cx="9155269" cy="2711112"/>
              <a:chOff x="-11269" y="2264002"/>
              <a:chExt cx="9155269" cy="2711112"/>
            </a:xfrm>
          </p:grpSpPr>
          <p:sp>
            <p:nvSpPr>
              <p:cNvPr id="7" name="Rectangle 3"/>
              <p:cNvSpPr/>
              <p:nvPr userDrawn="1"/>
            </p:nvSpPr>
            <p:spPr>
              <a:xfrm>
                <a:off x="-11269" y="2264002"/>
                <a:ext cx="846335" cy="2711112"/>
              </a:xfrm>
              <a:custGeom>
                <a:avLst/>
                <a:gdLst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92088 w 792088"/>
                  <a:gd name="connsiteY2" fmla="*/ 2196000 h 2196000"/>
                  <a:gd name="connsiteX3" fmla="*/ 0 w 792088"/>
                  <a:gd name="connsiteY3" fmla="*/ 2196000 h 2196000"/>
                  <a:gd name="connsiteX4" fmla="*/ 0 w 792088"/>
                  <a:gd name="connsiteY4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80658 w 792088"/>
                  <a:gd name="connsiteY3" fmla="*/ 218457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9810"/>
                  <a:gd name="connsiteX1" fmla="*/ 792088 w 792088"/>
                  <a:gd name="connsiteY1" fmla="*/ 0 h 2199810"/>
                  <a:gd name="connsiteX2" fmla="*/ 707072 w 792088"/>
                  <a:gd name="connsiteY2" fmla="*/ 1109454 h 2199810"/>
                  <a:gd name="connsiteX3" fmla="*/ 788278 w 792088"/>
                  <a:gd name="connsiteY3" fmla="*/ 2199810 h 2199810"/>
                  <a:gd name="connsiteX4" fmla="*/ 0 w 792088"/>
                  <a:gd name="connsiteY4" fmla="*/ 2196000 h 2199810"/>
                  <a:gd name="connsiteX5" fmla="*/ 0 w 792088"/>
                  <a:gd name="connsiteY5" fmla="*/ 0 h 2199810"/>
                  <a:gd name="connsiteX0" fmla="*/ 0 w 792088"/>
                  <a:gd name="connsiteY0" fmla="*/ 0 h 2199810"/>
                  <a:gd name="connsiteX1" fmla="*/ 792088 w 792088"/>
                  <a:gd name="connsiteY1" fmla="*/ 0 h 2199810"/>
                  <a:gd name="connsiteX2" fmla="*/ 707072 w 792088"/>
                  <a:gd name="connsiteY2" fmla="*/ 1109454 h 2199810"/>
                  <a:gd name="connsiteX3" fmla="*/ 788278 w 792088"/>
                  <a:gd name="connsiteY3" fmla="*/ 2199810 h 2199810"/>
                  <a:gd name="connsiteX4" fmla="*/ 0 w 792088"/>
                  <a:gd name="connsiteY4" fmla="*/ 2196000 h 2199810"/>
                  <a:gd name="connsiteX5" fmla="*/ 0 w 792088"/>
                  <a:gd name="connsiteY5" fmla="*/ 0 h 2199810"/>
                  <a:gd name="connsiteX0" fmla="*/ 3810 w 795898"/>
                  <a:gd name="connsiteY0" fmla="*/ 0 h 2211240"/>
                  <a:gd name="connsiteX1" fmla="*/ 795898 w 795898"/>
                  <a:gd name="connsiteY1" fmla="*/ 0 h 2211240"/>
                  <a:gd name="connsiteX2" fmla="*/ 710882 w 795898"/>
                  <a:gd name="connsiteY2" fmla="*/ 1109454 h 2211240"/>
                  <a:gd name="connsiteX3" fmla="*/ 792088 w 795898"/>
                  <a:gd name="connsiteY3" fmla="*/ 2199810 h 2211240"/>
                  <a:gd name="connsiteX4" fmla="*/ 0 w 795898"/>
                  <a:gd name="connsiteY4" fmla="*/ 2211240 h 2211240"/>
                  <a:gd name="connsiteX5" fmla="*/ 3810 w 795898"/>
                  <a:gd name="connsiteY5" fmla="*/ 0 h 2211240"/>
                  <a:gd name="connsiteX0" fmla="*/ 3810 w 795898"/>
                  <a:gd name="connsiteY0" fmla="*/ 0 h 2199810"/>
                  <a:gd name="connsiteX1" fmla="*/ 795898 w 795898"/>
                  <a:gd name="connsiteY1" fmla="*/ 0 h 2199810"/>
                  <a:gd name="connsiteX2" fmla="*/ 710882 w 795898"/>
                  <a:gd name="connsiteY2" fmla="*/ 1109454 h 2199810"/>
                  <a:gd name="connsiteX3" fmla="*/ 792088 w 795898"/>
                  <a:gd name="connsiteY3" fmla="*/ 2199810 h 2199810"/>
                  <a:gd name="connsiteX4" fmla="*/ 0 w 795898"/>
                  <a:gd name="connsiteY4" fmla="*/ 2199810 h 2199810"/>
                  <a:gd name="connsiteX5" fmla="*/ 3810 w 795898"/>
                  <a:gd name="connsiteY5" fmla="*/ 0 h 2199810"/>
                  <a:gd name="connsiteX0" fmla="*/ 3810 w 842888"/>
                  <a:gd name="connsiteY0" fmla="*/ 0 h 2199810"/>
                  <a:gd name="connsiteX1" fmla="*/ 795898 w 842888"/>
                  <a:gd name="connsiteY1" fmla="*/ 0 h 2199810"/>
                  <a:gd name="connsiteX2" fmla="*/ 710882 w 842888"/>
                  <a:gd name="connsiteY2" fmla="*/ 1109454 h 2199810"/>
                  <a:gd name="connsiteX3" fmla="*/ 842888 w 842888"/>
                  <a:gd name="connsiteY3" fmla="*/ 2199810 h 2199810"/>
                  <a:gd name="connsiteX4" fmla="*/ 0 w 842888"/>
                  <a:gd name="connsiteY4" fmla="*/ 2199810 h 2199810"/>
                  <a:gd name="connsiteX5" fmla="*/ 3810 w 842888"/>
                  <a:gd name="connsiteY5" fmla="*/ 0 h 2199810"/>
                  <a:gd name="connsiteX0" fmla="*/ 3810 w 842888"/>
                  <a:gd name="connsiteY0" fmla="*/ 0 h 2199810"/>
                  <a:gd name="connsiteX1" fmla="*/ 795898 w 842888"/>
                  <a:gd name="connsiteY1" fmla="*/ 0 h 2199810"/>
                  <a:gd name="connsiteX2" fmla="*/ 710882 w 842888"/>
                  <a:gd name="connsiteY2" fmla="*/ 1109454 h 2199810"/>
                  <a:gd name="connsiteX3" fmla="*/ 842888 w 842888"/>
                  <a:gd name="connsiteY3" fmla="*/ 2199810 h 2199810"/>
                  <a:gd name="connsiteX4" fmla="*/ 0 w 842888"/>
                  <a:gd name="connsiteY4" fmla="*/ 2199810 h 2199810"/>
                  <a:gd name="connsiteX5" fmla="*/ 3810 w 842888"/>
                  <a:gd name="connsiteY5" fmla="*/ 0 h 2199810"/>
                  <a:gd name="connsiteX0" fmla="*/ 0 w 846335"/>
                  <a:gd name="connsiteY0" fmla="*/ 0 h 2199810"/>
                  <a:gd name="connsiteX1" fmla="*/ 799345 w 846335"/>
                  <a:gd name="connsiteY1" fmla="*/ 0 h 2199810"/>
                  <a:gd name="connsiteX2" fmla="*/ 714329 w 846335"/>
                  <a:gd name="connsiteY2" fmla="*/ 1109454 h 2199810"/>
                  <a:gd name="connsiteX3" fmla="*/ 846335 w 846335"/>
                  <a:gd name="connsiteY3" fmla="*/ 2199810 h 2199810"/>
                  <a:gd name="connsiteX4" fmla="*/ 3447 w 846335"/>
                  <a:gd name="connsiteY4" fmla="*/ 2199810 h 2199810"/>
                  <a:gd name="connsiteX5" fmla="*/ 0 w 846335"/>
                  <a:gd name="connsiteY5" fmla="*/ 0 h 2199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46335" h="2199810">
                    <a:moveTo>
                      <a:pt x="0" y="0"/>
                    </a:moveTo>
                    <a:lnTo>
                      <a:pt x="799345" y="0"/>
                    </a:lnTo>
                    <a:cubicBezTo>
                      <a:pt x="757036" y="371088"/>
                      <a:pt x="714728" y="711696"/>
                      <a:pt x="714329" y="1109454"/>
                    </a:cubicBezTo>
                    <a:cubicBezTo>
                      <a:pt x="719808" y="1475446"/>
                      <a:pt x="788604" y="1837628"/>
                      <a:pt x="846335" y="2199810"/>
                    </a:cubicBezTo>
                    <a:lnTo>
                      <a:pt x="3447" y="2199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BD1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9" name="Rectangle 7"/>
              <p:cNvSpPr/>
              <p:nvPr userDrawn="1"/>
            </p:nvSpPr>
            <p:spPr>
              <a:xfrm>
                <a:off x="762833" y="2264002"/>
                <a:ext cx="1948184" cy="2707257"/>
              </a:xfrm>
              <a:custGeom>
                <a:avLst/>
                <a:gdLst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2292349 h 2292349"/>
                  <a:gd name="connsiteX3" fmla="*/ 0 w 1476375"/>
                  <a:gd name="connsiteY3" fmla="*/ 2292349 h 2292349"/>
                  <a:gd name="connsiteX4" fmla="*/ 0 w 1476375"/>
                  <a:gd name="connsiteY4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292225 w 1476375"/>
                  <a:gd name="connsiteY2" fmla="*/ 2025649 h 2292349"/>
                  <a:gd name="connsiteX3" fmla="*/ 0 w 1476375"/>
                  <a:gd name="connsiteY3" fmla="*/ 2292349 h 2292349"/>
                  <a:gd name="connsiteX4" fmla="*/ 0 w 1476375"/>
                  <a:gd name="connsiteY4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1781174 h 2292349"/>
                  <a:gd name="connsiteX3" fmla="*/ 0 w 1476375"/>
                  <a:gd name="connsiteY3" fmla="*/ 2292349 h 2292349"/>
                  <a:gd name="connsiteX4" fmla="*/ 0 w 1476375"/>
                  <a:gd name="connsiteY4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1781174 h 2292349"/>
                  <a:gd name="connsiteX3" fmla="*/ 847725 w 1476375"/>
                  <a:gd name="connsiteY3" fmla="*/ 1993900 h 2292349"/>
                  <a:gd name="connsiteX4" fmla="*/ 0 w 1476375"/>
                  <a:gd name="connsiteY4" fmla="*/ 2292349 h 2292349"/>
                  <a:gd name="connsiteX5" fmla="*/ 0 w 1476375"/>
                  <a:gd name="connsiteY5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1781174 h 2292349"/>
                  <a:gd name="connsiteX3" fmla="*/ 1003300 w 1476375"/>
                  <a:gd name="connsiteY3" fmla="*/ 2279650 h 2292349"/>
                  <a:gd name="connsiteX4" fmla="*/ 0 w 1476375"/>
                  <a:gd name="connsiteY4" fmla="*/ 2292349 h 2292349"/>
                  <a:gd name="connsiteX5" fmla="*/ 0 w 1476375"/>
                  <a:gd name="connsiteY5" fmla="*/ 0 h 2292349"/>
                  <a:gd name="connsiteX0" fmla="*/ 0 w 1476375"/>
                  <a:gd name="connsiteY0" fmla="*/ 0 h 2292350"/>
                  <a:gd name="connsiteX1" fmla="*/ 1476375 w 1476375"/>
                  <a:gd name="connsiteY1" fmla="*/ 0 h 2292350"/>
                  <a:gd name="connsiteX2" fmla="*/ 1476375 w 1476375"/>
                  <a:gd name="connsiteY2" fmla="*/ 1781174 h 2292350"/>
                  <a:gd name="connsiteX3" fmla="*/ 1003300 w 1476375"/>
                  <a:gd name="connsiteY3" fmla="*/ 2292350 h 2292350"/>
                  <a:gd name="connsiteX4" fmla="*/ 0 w 1476375"/>
                  <a:gd name="connsiteY4" fmla="*/ 2292349 h 2292350"/>
                  <a:gd name="connsiteX5" fmla="*/ 0 w 1476375"/>
                  <a:gd name="connsiteY5" fmla="*/ 0 h 2292350"/>
                  <a:gd name="connsiteX0" fmla="*/ 0 w 1476375"/>
                  <a:gd name="connsiteY0" fmla="*/ 0 h 2292350"/>
                  <a:gd name="connsiteX1" fmla="*/ 1476375 w 1476375"/>
                  <a:gd name="connsiteY1" fmla="*/ 0 h 2292350"/>
                  <a:gd name="connsiteX2" fmla="*/ 1476375 w 1476375"/>
                  <a:gd name="connsiteY2" fmla="*/ 1781174 h 2292350"/>
                  <a:gd name="connsiteX3" fmla="*/ 1003300 w 1476375"/>
                  <a:gd name="connsiteY3" fmla="*/ 2292350 h 2292350"/>
                  <a:gd name="connsiteX4" fmla="*/ 0 w 1476375"/>
                  <a:gd name="connsiteY4" fmla="*/ 2292349 h 2292350"/>
                  <a:gd name="connsiteX5" fmla="*/ 0 w 1476375"/>
                  <a:gd name="connsiteY5" fmla="*/ 0 h 2292350"/>
                  <a:gd name="connsiteX0" fmla="*/ 0 w 1476375"/>
                  <a:gd name="connsiteY0" fmla="*/ 0 h 2292350"/>
                  <a:gd name="connsiteX1" fmla="*/ 1476375 w 1476375"/>
                  <a:gd name="connsiteY1" fmla="*/ 0 h 2292350"/>
                  <a:gd name="connsiteX2" fmla="*/ 1476375 w 1476375"/>
                  <a:gd name="connsiteY2" fmla="*/ 1781174 h 2292350"/>
                  <a:gd name="connsiteX3" fmla="*/ 1003300 w 1476375"/>
                  <a:gd name="connsiteY3" fmla="*/ 2292350 h 2292350"/>
                  <a:gd name="connsiteX4" fmla="*/ 0 w 1476375"/>
                  <a:gd name="connsiteY4" fmla="*/ 2292349 h 2292350"/>
                  <a:gd name="connsiteX5" fmla="*/ 0 w 1476375"/>
                  <a:gd name="connsiteY5" fmla="*/ 0 h 2292350"/>
                  <a:gd name="connsiteX0" fmla="*/ 0 w 1476375"/>
                  <a:gd name="connsiteY0" fmla="*/ 0 h 2292354"/>
                  <a:gd name="connsiteX1" fmla="*/ 1476375 w 1476375"/>
                  <a:gd name="connsiteY1" fmla="*/ 0 h 2292354"/>
                  <a:gd name="connsiteX2" fmla="*/ 1476375 w 1476375"/>
                  <a:gd name="connsiteY2" fmla="*/ 1781174 h 2292354"/>
                  <a:gd name="connsiteX3" fmla="*/ 1003300 w 1476375"/>
                  <a:gd name="connsiteY3" fmla="*/ 2292350 h 2292354"/>
                  <a:gd name="connsiteX4" fmla="*/ 0 w 1476375"/>
                  <a:gd name="connsiteY4" fmla="*/ 2292349 h 2292354"/>
                  <a:gd name="connsiteX5" fmla="*/ 0 w 1476375"/>
                  <a:gd name="connsiteY5" fmla="*/ 0 h 2292354"/>
                  <a:gd name="connsiteX0" fmla="*/ 36713 w 1513088"/>
                  <a:gd name="connsiteY0" fmla="*/ 0 h 2292354"/>
                  <a:gd name="connsiteX1" fmla="*/ 1513088 w 1513088"/>
                  <a:gd name="connsiteY1" fmla="*/ 0 h 2292354"/>
                  <a:gd name="connsiteX2" fmla="*/ 1513088 w 1513088"/>
                  <a:gd name="connsiteY2" fmla="*/ 1781174 h 2292354"/>
                  <a:gd name="connsiteX3" fmla="*/ 1040013 w 1513088"/>
                  <a:gd name="connsiteY3" fmla="*/ 2292350 h 2292354"/>
                  <a:gd name="connsiteX4" fmla="*/ 0 w 1513088"/>
                  <a:gd name="connsiteY4" fmla="*/ 2292349 h 2292354"/>
                  <a:gd name="connsiteX5" fmla="*/ 36713 w 1513088"/>
                  <a:gd name="connsiteY5" fmla="*/ 0 h 2292354"/>
                  <a:gd name="connsiteX0" fmla="*/ 75538 w 1551913"/>
                  <a:gd name="connsiteY0" fmla="*/ 0 h 2292354"/>
                  <a:gd name="connsiteX1" fmla="*/ 1551913 w 1551913"/>
                  <a:gd name="connsiteY1" fmla="*/ 0 h 2292354"/>
                  <a:gd name="connsiteX2" fmla="*/ 1551913 w 1551913"/>
                  <a:gd name="connsiteY2" fmla="*/ 1781174 h 2292354"/>
                  <a:gd name="connsiteX3" fmla="*/ 1078838 w 1551913"/>
                  <a:gd name="connsiteY3" fmla="*/ 2292350 h 2292354"/>
                  <a:gd name="connsiteX4" fmla="*/ 38825 w 1551913"/>
                  <a:gd name="connsiteY4" fmla="*/ 2292349 h 2292354"/>
                  <a:gd name="connsiteX5" fmla="*/ 75538 w 1551913"/>
                  <a:gd name="connsiteY5" fmla="*/ 0 h 2292354"/>
                  <a:gd name="connsiteX0" fmla="*/ 96471 w 1572846"/>
                  <a:gd name="connsiteY0" fmla="*/ 0 h 2292354"/>
                  <a:gd name="connsiteX1" fmla="*/ 1572846 w 1572846"/>
                  <a:gd name="connsiteY1" fmla="*/ 0 h 2292354"/>
                  <a:gd name="connsiteX2" fmla="*/ 1572846 w 1572846"/>
                  <a:gd name="connsiteY2" fmla="*/ 1781174 h 2292354"/>
                  <a:gd name="connsiteX3" fmla="*/ 1099771 w 1572846"/>
                  <a:gd name="connsiteY3" fmla="*/ 2292350 h 2292354"/>
                  <a:gd name="connsiteX4" fmla="*/ 59758 w 1572846"/>
                  <a:gd name="connsiteY4" fmla="*/ 2292349 h 2292354"/>
                  <a:gd name="connsiteX5" fmla="*/ 96471 w 1572846"/>
                  <a:gd name="connsiteY5" fmla="*/ 0 h 2292354"/>
                  <a:gd name="connsiteX0" fmla="*/ 96471 w 1573815"/>
                  <a:gd name="connsiteY0" fmla="*/ 0 h 2292354"/>
                  <a:gd name="connsiteX1" fmla="*/ 1572846 w 1573815"/>
                  <a:gd name="connsiteY1" fmla="*/ 0 h 2292354"/>
                  <a:gd name="connsiteX2" fmla="*/ 1572846 w 1573815"/>
                  <a:gd name="connsiteY2" fmla="*/ 1781174 h 2292354"/>
                  <a:gd name="connsiteX3" fmla="*/ 1099771 w 1573815"/>
                  <a:gd name="connsiteY3" fmla="*/ 2292350 h 2292354"/>
                  <a:gd name="connsiteX4" fmla="*/ 59758 w 1573815"/>
                  <a:gd name="connsiteY4" fmla="*/ 2292349 h 2292354"/>
                  <a:gd name="connsiteX5" fmla="*/ 96471 w 1573815"/>
                  <a:gd name="connsiteY5" fmla="*/ 0 h 2292354"/>
                  <a:gd name="connsiteX0" fmla="*/ 96471 w 1572846"/>
                  <a:gd name="connsiteY0" fmla="*/ 0 h 2292354"/>
                  <a:gd name="connsiteX1" fmla="*/ 1572846 w 1572846"/>
                  <a:gd name="connsiteY1" fmla="*/ 0 h 2292354"/>
                  <a:gd name="connsiteX2" fmla="*/ 1572846 w 1572846"/>
                  <a:gd name="connsiteY2" fmla="*/ 1781174 h 2292354"/>
                  <a:gd name="connsiteX3" fmla="*/ 1099771 w 1572846"/>
                  <a:gd name="connsiteY3" fmla="*/ 2292350 h 2292354"/>
                  <a:gd name="connsiteX4" fmla="*/ 59758 w 1572846"/>
                  <a:gd name="connsiteY4" fmla="*/ 2292349 h 2292354"/>
                  <a:gd name="connsiteX5" fmla="*/ 96471 w 1572846"/>
                  <a:gd name="connsiteY5" fmla="*/ 0 h 2292354"/>
                  <a:gd name="connsiteX0" fmla="*/ 96471 w 1573506"/>
                  <a:gd name="connsiteY0" fmla="*/ 0 h 2292358"/>
                  <a:gd name="connsiteX1" fmla="*/ 1572846 w 1573506"/>
                  <a:gd name="connsiteY1" fmla="*/ 0 h 2292358"/>
                  <a:gd name="connsiteX2" fmla="*/ 1572846 w 1573506"/>
                  <a:gd name="connsiteY2" fmla="*/ 1781174 h 2292358"/>
                  <a:gd name="connsiteX3" fmla="*/ 1099771 w 1573506"/>
                  <a:gd name="connsiteY3" fmla="*/ 2292350 h 2292358"/>
                  <a:gd name="connsiteX4" fmla="*/ 59758 w 1573506"/>
                  <a:gd name="connsiteY4" fmla="*/ 2292349 h 2292358"/>
                  <a:gd name="connsiteX5" fmla="*/ 96471 w 1573506"/>
                  <a:gd name="connsiteY5" fmla="*/ 0 h 2292358"/>
                  <a:gd name="connsiteX0" fmla="*/ 65137 w 1602111"/>
                  <a:gd name="connsiteY0" fmla="*/ 0 h 2298519"/>
                  <a:gd name="connsiteX1" fmla="*/ 1601451 w 1602111"/>
                  <a:gd name="connsiteY1" fmla="*/ 6161 h 2298519"/>
                  <a:gd name="connsiteX2" fmla="*/ 1601451 w 1602111"/>
                  <a:gd name="connsiteY2" fmla="*/ 1787335 h 2298519"/>
                  <a:gd name="connsiteX3" fmla="*/ 1128376 w 1602111"/>
                  <a:gd name="connsiteY3" fmla="*/ 2298511 h 2298519"/>
                  <a:gd name="connsiteX4" fmla="*/ 88363 w 1602111"/>
                  <a:gd name="connsiteY4" fmla="*/ 2298510 h 2298519"/>
                  <a:gd name="connsiteX5" fmla="*/ 65137 w 1602111"/>
                  <a:gd name="connsiteY5" fmla="*/ 0 h 2298519"/>
                  <a:gd name="connsiteX0" fmla="*/ 56187 w 1593161"/>
                  <a:gd name="connsiteY0" fmla="*/ 0 h 2298519"/>
                  <a:gd name="connsiteX1" fmla="*/ 1592501 w 1593161"/>
                  <a:gd name="connsiteY1" fmla="*/ 6161 h 2298519"/>
                  <a:gd name="connsiteX2" fmla="*/ 1592501 w 1593161"/>
                  <a:gd name="connsiteY2" fmla="*/ 1787335 h 2298519"/>
                  <a:gd name="connsiteX3" fmla="*/ 1119426 w 1593161"/>
                  <a:gd name="connsiteY3" fmla="*/ 2298511 h 2298519"/>
                  <a:gd name="connsiteX4" fmla="*/ 103389 w 1593161"/>
                  <a:gd name="connsiteY4" fmla="*/ 2298510 h 2298519"/>
                  <a:gd name="connsiteX5" fmla="*/ 56187 w 1593161"/>
                  <a:gd name="connsiteY5" fmla="*/ 0 h 2298519"/>
                  <a:gd name="connsiteX0" fmla="*/ 68950 w 1605924"/>
                  <a:gd name="connsiteY0" fmla="*/ 0 h 2298519"/>
                  <a:gd name="connsiteX1" fmla="*/ 1605264 w 1605924"/>
                  <a:gd name="connsiteY1" fmla="*/ 6161 h 2298519"/>
                  <a:gd name="connsiteX2" fmla="*/ 1605264 w 1605924"/>
                  <a:gd name="connsiteY2" fmla="*/ 1787335 h 2298519"/>
                  <a:gd name="connsiteX3" fmla="*/ 1132189 w 1605924"/>
                  <a:gd name="connsiteY3" fmla="*/ 2298511 h 2298519"/>
                  <a:gd name="connsiteX4" fmla="*/ 116152 w 1605924"/>
                  <a:gd name="connsiteY4" fmla="*/ 2298510 h 2298519"/>
                  <a:gd name="connsiteX5" fmla="*/ 68950 w 1605924"/>
                  <a:gd name="connsiteY5" fmla="*/ 0 h 2298519"/>
                  <a:gd name="connsiteX0" fmla="*/ 75046 w 1612020"/>
                  <a:gd name="connsiteY0" fmla="*/ 0 h 2298519"/>
                  <a:gd name="connsiteX1" fmla="*/ 1611360 w 1612020"/>
                  <a:gd name="connsiteY1" fmla="*/ 6161 h 2298519"/>
                  <a:gd name="connsiteX2" fmla="*/ 1611360 w 1612020"/>
                  <a:gd name="connsiteY2" fmla="*/ 1787335 h 2298519"/>
                  <a:gd name="connsiteX3" fmla="*/ 1138285 w 1612020"/>
                  <a:gd name="connsiteY3" fmla="*/ 2298511 h 2298519"/>
                  <a:gd name="connsiteX4" fmla="*/ 122248 w 1612020"/>
                  <a:gd name="connsiteY4" fmla="*/ 2298510 h 2298519"/>
                  <a:gd name="connsiteX5" fmla="*/ 75046 w 1612020"/>
                  <a:gd name="connsiteY5" fmla="*/ 0 h 2298519"/>
                  <a:gd name="connsiteX0" fmla="*/ 80636 w 1617610"/>
                  <a:gd name="connsiteY0" fmla="*/ 0 h 2298519"/>
                  <a:gd name="connsiteX1" fmla="*/ 1616950 w 1617610"/>
                  <a:gd name="connsiteY1" fmla="*/ 6161 h 2298519"/>
                  <a:gd name="connsiteX2" fmla="*/ 1616950 w 1617610"/>
                  <a:gd name="connsiteY2" fmla="*/ 1787335 h 2298519"/>
                  <a:gd name="connsiteX3" fmla="*/ 1143875 w 1617610"/>
                  <a:gd name="connsiteY3" fmla="*/ 2298511 h 2298519"/>
                  <a:gd name="connsiteX4" fmla="*/ 115850 w 1617610"/>
                  <a:gd name="connsiteY4" fmla="*/ 2298510 h 2298519"/>
                  <a:gd name="connsiteX5" fmla="*/ 80636 w 1617610"/>
                  <a:gd name="connsiteY5" fmla="*/ 0 h 2298519"/>
                  <a:gd name="connsiteX0" fmla="*/ 72094 w 1609068"/>
                  <a:gd name="connsiteY0" fmla="*/ 0 h 2298519"/>
                  <a:gd name="connsiteX1" fmla="*/ 1608408 w 1609068"/>
                  <a:gd name="connsiteY1" fmla="*/ 6161 h 2298519"/>
                  <a:gd name="connsiteX2" fmla="*/ 1608408 w 1609068"/>
                  <a:gd name="connsiteY2" fmla="*/ 1787335 h 2298519"/>
                  <a:gd name="connsiteX3" fmla="*/ 1135333 w 1609068"/>
                  <a:gd name="connsiteY3" fmla="*/ 2298511 h 2298519"/>
                  <a:gd name="connsiteX4" fmla="*/ 107308 w 1609068"/>
                  <a:gd name="connsiteY4" fmla="*/ 2298510 h 2298519"/>
                  <a:gd name="connsiteX5" fmla="*/ 72094 w 1609068"/>
                  <a:gd name="connsiteY5" fmla="*/ 0 h 229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09068" h="2298519">
                    <a:moveTo>
                      <a:pt x="72094" y="0"/>
                    </a:moveTo>
                    <a:lnTo>
                      <a:pt x="1608408" y="6161"/>
                    </a:lnTo>
                    <a:lnTo>
                      <a:pt x="1608408" y="1787335"/>
                    </a:lnTo>
                    <a:cubicBezTo>
                      <a:pt x="1608913" y="2097965"/>
                      <a:pt x="1643510" y="2300010"/>
                      <a:pt x="1135333" y="2298511"/>
                    </a:cubicBezTo>
                    <a:lnTo>
                      <a:pt x="107308" y="2298510"/>
                    </a:lnTo>
                    <a:cubicBezTo>
                      <a:pt x="-29178" y="1360927"/>
                      <a:pt x="-29303" y="796478"/>
                      <a:pt x="72094" y="0"/>
                    </a:cubicBezTo>
                    <a:close/>
                  </a:path>
                </a:pathLst>
              </a:custGeom>
              <a:blipFill rotWithShape="1"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fr-FR" dirty="0">
                    <a:ln w="12700" cmpd="sng">
                      <a:solidFill>
                        <a:schemeClr val="tx1"/>
                      </a:solidFill>
                    </a:ln>
                  </a:rPr>
                  <a:t> </a:t>
                </a:r>
              </a:p>
            </p:txBody>
          </p:sp>
          <p:sp>
            <p:nvSpPr>
              <p:cNvPr id="10" name="Rectangle 1"/>
              <p:cNvSpPr/>
              <p:nvPr userDrawn="1"/>
            </p:nvSpPr>
            <p:spPr>
              <a:xfrm>
                <a:off x="2772328" y="2264002"/>
                <a:ext cx="6371672" cy="2245118"/>
              </a:xfrm>
              <a:custGeom>
                <a:avLst/>
                <a:gdLst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2245118 h 2245118"/>
                  <a:gd name="connsiteX3" fmla="*/ 0 w 6365348"/>
                  <a:gd name="connsiteY3" fmla="*/ 2245118 h 2245118"/>
                  <a:gd name="connsiteX4" fmla="*/ 0 w 6365348"/>
                  <a:gd name="connsiteY4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2245118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401634"/>
                  <a:gd name="connsiteY0" fmla="*/ 0 h 2245118"/>
                  <a:gd name="connsiteX1" fmla="*/ 6365348 w 6401634"/>
                  <a:gd name="connsiteY1" fmla="*/ 0 h 2245118"/>
                  <a:gd name="connsiteX2" fmla="*/ 6401634 w 6401634"/>
                  <a:gd name="connsiteY2" fmla="*/ 1475861 h 2245118"/>
                  <a:gd name="connsiteX3" fmla="*/ 987805 w 6401634"/>
                  <a:gd name="connsiteY3" fmla="*/ 1495198 h 2245118"/>
                  <a:gd name="connsiteX4" fmla="*/ 0 w 6401634"/>
                  <a:gd name="connsiteY4" fmla="*/ 2245118 h 2245118"/>
                  <a:gd name="connsiteX5" fmla="*/ 0 w 6401634"/>
                  <a:gd name="connsiteY5" fmla="*/ 0 h 2245118"/>
                  <a:gd name="connsiteX0" fmla="*/ 0 w 6372605"/>
                  <a:gd name="connsiteY0" fmla="*/ 0 h 2245118"/>
                  <a:gd name="connsiteX1" fmla="*/ 6365348 w 6372605"/>
                  <a:gd name="connsiteY1" fmla="*/ 0 h 2245118"/>
                  <a:gd name="connsiteX2" fmla="*/ 6372605 w 6372605"/>
                  <a:gd name="connsiteY2" fmla="*/ 1475861 h 2245118"/>
                  <a:gd name="connsiteX3" fmla="*/ 987805 w 6372605"/>
                  <a:gd name="connsiteY3" fmla="*/ 1495198 h 2245118"/>
                  <a:gd name="connsiteX4" fmla="*/ 0 w 6372605"/>
                  <a:gd name="connsiteY4" fmla="*/ 2245118 h 2245118"/>
                  <a:gd name="connsiteX5" fmla="*/ 0 w 6372605"/>
                  <a:gd name="connsiteY5" fmla="*/ 0 h 2245118"/>
                  <a:gd name="connsiteX0" fmla="*/ 0 w 6372605"/>
                  <a:gd name="connsiteY0" fmla="*/ 0 h 2245118"/>
                  <a:gd name="connsiteX1" fmla="*/ 6365348 w 6372605"/>
                  <a:gd name="connsiteY1" fmla="*/ 0 h 2245118"/>
                  <a:gd name="connsiteX2" fmla="*/ 6372605 w 6372605"/>
                  <a:gd name="connsiteY2" fmla="*/ 1439575 h 2245118"/>
                  <a:gd name="connsiteX3" fmla="*/ 987805 w 6372605"/>
                  <a:gd name="connsiteY3" fmla="*/ 1495198 h 2245118"/>
                  <a:gd name="connsiteX4" fmla="*/ 0 w 6372605"/>
                  <a:gd name="connsiteY4" fmla="*/ 2245118 h 2245118"/>
                  <a:gd name="connsiteX5" fmla="*/ 0 w 6372605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1461347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1417804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607064 h 2245118"/>
                  <a:gd name="connsiteX3" fmla="*/ 987805 w 6368941"/>
                  <a:gd name="connsiteY3" fmla="*/ 1495198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987805 w 6368941"/>
                  <a:gd name="connsiteY3" fmla="*/ 1495198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132660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132660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073813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073813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5408"/>
                  <a:gd name="connsiteY0" fmla="*/ 0 h 2245118"/>
                  <a:gd name="connsiteX1" fmla="*/ 6365348 w 6365408"/>
                  <a:gd name="connsiteY1" fmla="*/ 0 h 2245118"/>
                  <a:gd name="connsiteX2" fmla="*/ 6350835 w 6365408"/>
                  <a:gd name="connsiteY2" fmla="*/ 1489369 h 2245118"/>
                  <a:gd name="connsiteX3" fmla="*/ 1073813 w 6365408"/>
                  <a:gd name="connsiteY3" fmla="*/ 1490671 h 2245118"/>
                  <a:gd name="connsiteX4" fmla="*/ 0 w 6365408"/>
                  <a:gd name="connsiteY4" fmla="*/ 2245118 h 2245118"/>
                  <a:gd name="connsiteX5" fmla="*/ 0 w 6365408"/>
                  <a:gd name="connsiteY5" fmla="*/ 0 h 2245118"/>
                  <a:gd name="connsiteX0" fmla="*/ 0 w 6365612"/>
                  <a:gd name="connsiteY0" fmla="*/ 0 h 2245118"/>
                  <a:gd name="connsiteX1" fmla="*/ 6365348 w 6365612"/>
                  <a:gd name="connsiteY1" fmla="*/ 0 h 2245118"/>
                  <a:gd name="connsiteX2" fmla="*/ 6364415 w 6365612"/>
                  <a:gd name="connsiteY2" fmla="*/ 1489369 h 2245118"/>
                  <a:gd name="connsiteX3" fmla="*/ 1073813 w 6365612"/>
                  <a:gd name="connsiteY3" fmla="*/ 1490671 h 2245118"/>
                  <a:gd name="connsiteX4" fmla="*/ 0 w 6365612"/>
                  <a:gd name="connsiteY4" fmla="*/ 2245118 h 2245118"/>
                  <a:gd name="connsiteX5" fmla="*/ 0 w 6365612"/>
                  <a:gd name="connsiteY5" fmla="*/ 0 h 2245118"/>
                  <a:gd name="connsiteX0" fmla="*/ 0 w 6364415"/>
                  <a:gd name="connsiteY0" fmla="*/ 0 h 2245118"/>
                  <a:gd name="connsiteX1" fmla="*/ 6360821 w 6364415"/>
                  <a:gd name="connsiteY1" fmla="*/ 0 h 2245118"/>
                  <a:gd name="connsiteX2" fmla="*/ 6364415 w 6364415"/>
                  <a:gd name="connsiteY2" fmla="*/ 1489369 h 2245118"/>
                  <a:gd name="connsiteX3" fmla="*/ 1073813 w 6364415"/>
                  <a:gd name="connsiteY3" fmla="*/ 1490671 h 2245118"/>
                  <a:gd name="connsiteX4" fmla="*/ 0 w 6364415"/>
                  <a:gd name="connsiteY4" fmla="*/ 2245118 h 2245118"/>
                  <a:gd name="connsiteX5" fmla="*/ 0 w 6364415"/>
                  <a:gd name="connsiteY5" fmla="*/ 0 h 2245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64415" h="2245118">
                    <a:moveTo>
                      <a:pt x="0" y="0"/>
                    </a:moveTo>
                    <a:lnTo>
                      <a:pt x="6360821" y="0"/>
                    </a:lnTo>
                    <a:cubicBezTo>
                      <a:pt x="6362019" y="535688"/>
                      <a:pt x="6363217" y="953681"/>
                      <a:pt x="6364415" y="1489369"/>
                    </a:cubicBezTo>
                    <a:lnTo>
                      <a:pt x="1073813" y="1490671"/>
                    </a:lnTo>
                    <a:cubicBezTo>
                      <a:pt x="623616" y="1518404"/>
                      <a:pt x="82525" y="1717721"/>
                      <a:pt x="0" y="224511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pic>
          <p:nvPicPr>
            <p:cNvPr id="13" name="Image 12"/>
            <p:cNvPicPr>
              <a:picLocks noChangeAspect="1"/>
            </p:cNvPicPr>
            <p:nvPr userDrawn="1"/>
          </p:nvPicPr>
          <p:blipFill>
            <a:blip r:embed="rId3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64288" y="5572417"/>
              <a:ext cx="1453333" cy="739212"/>
            </a:xfrm>
            <a:prstGeom prst="rect">
              <a:avLst/>
            </a:prstGeom>
          </p:spPr>
        </p:pic>
      </p:grp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347865" y="2408461"/>
            <a:ext cx="5436170" cy="1236564"/>
          </a:xfrm>
          <a:prstGeom prst="rect">
            <a:avLst/>
          </a:prstGeom>
        </p:spPr>
        <p:txBody>
          <a:bodyPr anchor="ctr"/>
          <a:lstStyle>
            <a:lvl1pPr algn="ctr"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25022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6"/>
          <p:cNvSpPr>
            <a:spLocks noGrp="1"/>
          </p:cNvSpPr>
          <p:nvPr>
            <p:ph sz="quarter" idx="11" hasCustomPrompt="1"/>
          </p:nvPr>
        </p:nvSpPr>
        <p:spPr>
          <a:xfrm>
            <a:off x="522315" y="5760690"/>
            <a:ext cx="8100516" cy="4801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graphique 3"/>
          <p:cNvSpPr>
            <a:spLocks noGrp="1"/>
          </p:cNvSpPr>
          <p:nvPr>
            <p:ph type="chart" sz="quarter" idx="10"/>
          </p:nvPr>
        </p:nvSpPr>
        <p:spPr>
          <a:xfrm>
            <a:off x="522318" y="1097314"/>
            <a:ext cx="8099369" cy="45947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3423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eu">
    <p:bg>
      <p:bgPr>
        <a:solidFill>
          <a:srgbClr val="C8D7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/>
          </p:cNvSpPr>
          <p:nvPr/>
        </p:nvSpPr>
        <p:spPr bwMode="auto">
          <a:xfrm>
            <a:off x="2012950" y="1522413"/>
            <a:ext cx="4257675" cy="354012"/>
          </a:xfrm>
          <a:custGeom>
            <a:avLst/>
            <a:gdLst>
              <a:gd name="T0" fmla="*/ 0 w 4464"/>
              <a:gd name="T1" fmla="*/ 2147483647 h 369"/>
              <a:gd name="T2" fmla="*/ 0 w 4464"/>
              <a:gd name="T3" fmla="*/ 2147483647 h 369"/>
              <a:gd name="T4" fmla="*/ 2147483647 w 4464"/>
              <a:gd name="T5" fmla="*/ 2147483647 h 369"/>
              <a:gd name="T6" fmla="*/ 2147483647 w 4464"/>
              <a:gd name="T7" fmla="*/ 0 h 369"/>
              <a:gd name="T8" fmla="*/ 0 w 4464"/>
              <a:gd name="T9" fmla="*/ 0 h 369"/>
              <a:gd name="T10" fmla="*/ 0 w 4464"/>
              <a:gd name="T11" fmla="*/ 2147483647 h 36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464" h="369">
                <a:moveTo>
                  <a:pt x="0" y="369"/>
                </a:moveTo>
                <a:lnTo>
                  <a:pt x="0" y="369"/>
                </a:lnTo>
                <a:lnTo>
                  <a:pt x="4464" y="369"/>
                </a:lnTo>
                <a:lnTo>
                  <a:pt x="4464" y="0"/>
                </a:lnTo>
                <a:lnTo>
                  <a:pt x="0" y="0"/>
                </a:lnTo>
                <a:lnTo>
                  <a:pt x="0" y="3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457200" y="3013075"/>
            <a:ext cx="1611313" cy="2813050"/>
          </a:xfrm>
          <a:custGeom>
            <a:avLst/>
            <a:gdLst>
              <a:gd name="T0" fmla="*/ 0 w 1689"/>
              <a:gd name="T1" fmla="*/ 2147483647 h 2943"/>
              <a:gd name="T2" fmla="*/ 0 w 1689"/>
              <a:gd name="T3" fmla="*/ 2147483647 h 2943"/>
              <a:gd name="T4" fmla="*/ 2147483647 w 1689"/>
              <a:gd name="T5" fmla="*/ 2147483647 h 2943"/>
              <a:gd name="T6" fmla="*/ 2147483647 w 1689"/>
              <a:gd name="T7" fmla="*/ 0 h 2943"/>
              <a:gd name="T8" fmla="*/ 0 w 1689"/>
              <a:gd name="T9" fmla="*/ 0 h 2943"/>
              <a:gd name="T10" fmla="*/ 0 w 1689"/>
              <a:gd name="T11" fmla="*/ 2147483647 h 29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89" h="2943">
                <a:moveTo>
                  <a:pt x="0" y="2943"/>
                </a:moveTo>
                <a:lnTo>
                  <a:pt x="0" y="2943"/>
                </a:lnTo>
                <a:lnTo>
                  <a:pt x="1689" y="2943"/>
                </a:lnTo>
                <a:lnTo>
                  <a:pt x="1689" y="0"/>
                </a:lnTo>
                <a:lnTo>
                  <a:pt x="0" y="0"/>
                </a:lnTo>
                <a:lnTo>
                  <a:pt x="0" y="29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3067050" y="5522913"/>
            <a:ext cx="1074738" cy="303212"/>
          </a:xfrm>
          <a:custGeom>
            <a:avLst/>
            <a:gdLst>
              <a:gd name="T0" fmla="*/ 0 w 1126"/>
              <a:gd name="T1" fmla="*/ 2147483647 h 317"/>
              <a:gd name="T2" fmla="*/ 0 w 1126"/>
              <a:gd name="T3" fmla="*/ 2147483647 h 317"/>
              <a:gd name="T4" fmla="*/ 2147483647 w 1126"/>
              <a:gd name="T5" fmla="*/ 2147483647 h 317"/>
              <a:gd name="T6" fmla="*/ 2147483647 w 1126"/>
              <a:gd name="T7" fmla="*/ 0 h 317"/>
              <a:gd name="T8" fmla="*/ 0 w 1126"/>
              <a:gd name="T9" fmla="*/ 0 h 317"/>
              <a:gd name="T10" fmla="*/ 0 w 1126"/>
              <a:gd name="T11" fmla="*/ 2147483647 h 3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126" h="317">
                <a:moveTo>
                  <a:pt x="0" y="317"/>
                </a:moveTo>
                <a:lnTo>
                  <a:pt x="0" y="317"/>
                </a:lnTo>
                <a:lnTo>
                  <a:pt x="1126" y="317"/>
                </a:lnTo>
                <a:lnTo>
                  <a:pt x="1126" y="0"/>
                </a:lnTo>
                <a:lnTo>
                  <a:pt x="0" y="0"/>
                </a:lnTo>
                <a:lnTo>
                  <a:pt x="0" y="3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5740400" y="4086225"/>
            <a:ext cx="1074738" cy="1739900"/>
          </a:xfrm>
          <a:custGeom>
            <a:avLst/>
            <a:gdLst>
              <a:gd name="T0" fmla="*/ 0 w 1126"/>
              <a:gd name="T1" fmla="*/ 2147483647 h 1820"/>
              <a:gd name="T2" fmla="*/ 0 w 1126"/>
              <a:gd name="T3" fmla="*/ 2147483647 h 1820"/>
              <a:gd name="T4" fmla="*/ 2147483647 w 1126"/>
              <a:gd name="T5" fmla="*/ 2147483647 h 1820"/>
              <a:gd name="T6" fmla="*/ 2147483647 w 1126"/>
              <a:gd name="T7" fmla="*/ 0 h 1820"/>
              <a:gd name="T8" fmla="*/ 0 w 1126"/>
              <a:gd name="T9" fmla="*/ 0 h 1820"/>
              <a:gd name="T10" fmla="*/ 0 w 1126"/>
              <a:gd name="T11" fmla="*/ 2147483647 h 1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126" h="1820">
                <a:moveTo>
                  <a:pt x="0" y="1820"/>
                </a:moveTo>
                <a:lnTo>
                  <a:pt x="0" y="1820"/>
                </a:lnTo>
                <a:lnTo>
                  <a:pt x="1126" y="1820"/>
                </a:lnTo>
                <a:lnTo>
                  <a:pt x="1126" y="0"/>
                </a:lnTo>
                <a:lnTo>
                  <a:pt x="0" y="0"/>
                </a:lnTo>
                <a:lnTo>
                  <a:pt x="0" y="1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8" name="Freeform 9"/>
          <p:cNvSpPr>
            <a:spLocks/>
          </p:cNvSpPr>
          <p:nvPr/>
        </p:nvSpPr>
        <p:spPr bwMode="auto">
          <a:xfrm>
            <a:off x="4140200" y="3717925"/>
            <a:ext cx="531813" cy="358775"/>
          </a:xfrm>
          <a:custGeom>
            <a:avLst/>
            <a:gdLst>
              <a:gd name="T0" fmla="*/ 0 w 557"/>
              <a:gd name="T1" fmla="*/ 2147483647 h 375"/>
              <a:gd name="T2" fmla="*/ 0 w 557"/>
              <a:gd name="T3" fmla="*/ 2147483647 h 375"/>
              <a:gd name="T4" fmla="*/ 2147483647 w 557"/>
              <a:gd name="T5" fmla="*/ 2147483647 h 375"/>
              <a:gd name="T6" fmla="*/ 2147483647 w 557"/>
              <a:gd name="T7" fmla="*/ 0 h 375"/>
              <a:gd name="T8" fmla="*/ 0 w 557"/>
              <a:gd name="T9" fmla="*/ 0 h 375"/>
              <a:gd name="T10" fmla="*/ 0 w 557"/>
              <a:gd name="T11" fmla="*/ 2147483647 h 37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57" h="375">
                <a:moveTo>
                  <a:pt x="0" y="375"/>
                </a:moveTo>
                <a:lnTo>
                  <a:pt x="0" y="375"/>
                </a:lnTo>
                <a:lnTo>
                  <a:pt x="557" y="375"/>
                </a:lnTo>
                <a:lnTo>
                  <a:pt x="557" y="0"/>
                </a:lnTo>
                <a:lnTo>
                  <a:pt x="0" y="0"/>
                </a:lnTo>
                <a:lnTo>
                  <a:pt x="0" y="3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" name="Freeform 10"/>
          <p:cNvSpPr>
            <a:spLocks/>
          </p:cNvSpPr>
          <p:nvPr/>
        </p:nvSpPr>
        <p:spPr bwMode="auto">
          <a:xfrm>
            <a:off x="7332663" y="2995613"/>
            <a:ext cx="539750" cy="742950"/>
          </a:xfrm>
          <a:custGeom>
            <a:avLst/>
            <a:gdLst>
              <a:gd name="T0" fmla="*/ 0 w 566"/>
              <a:gd name="T1" fmla="*/ 2147483647 h 778"/>
              <a:gd name="T2" fmla="*/ 0 w 566"/>
              <a:gd name="T3" fmla="*/ 2147483647 h 778"/>
              <a:gd name="T4" fmla="*/ 2147483647 w 566"/>
              <a:gd name="T5" fmla="*/ 2147483647 h 778"/>
              <a:gd name="T6" fmla="*/ 2147483647 w 566"/>
              <a:gd name="T7" fmla="*/ 0 h 778"/>
              <a:gd name="T8" fmla="*/ 0 w 566"/>
              <a:gd name="T9" fmla="*/ 0 h 778"/>
              <a:gd name="T10" fmla="*/ 0 w 566"/>
              <a:gd name="T11" fmla="*/ 2147483647 h 7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66" h="778">
                <a:moveTo>
                  <a:pt x="0" y="778"/>
                </a:moveTo>
                <a:lnTo>
                  <a:pt x="0" y="778"/>
                </a:lnTo>
                <a:lnTo>
                  <a:pt x="566" y="778"/>
                </a:lnTo>
                <a:lnTo>
                  <a:pt x="566" y="0"/>
                </a:lnTo>
                <a:lnTo>
                  <a:pt x="0" y="0"/>
                </a:lnTo>
                <a:lnTo>
                  <a:pt x="0" y="7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1" name="Freeform 11"/>
          <p:cNvSpPr>
            <a:spLocks/>
          </p:cNvSpPr>
          <p:nvPr/>
        </p:nvSpPr>
        <p:spPr bwMode="auto">
          <a:xfrm>
            <a:off x="7891463" y="1522413"/>
            <a:ext cx="806450" cy="354012"/>
          </a:xfrm>
          <a:custGeom>
            <a:avLst/>
            <a:gdLst>
              <a:gd name="T0" fmla="*/ 0 w 844"/>
              <a:gd name="T1" fmla="*/ 2147483647 h 369"/>
              <a:gd name="T2" fmla="*/ 0 w 844"/>
              <a:gd name="T3" fmla="*/ 2147483647 h 369"/>
              <a:gd name="T4" fmla="*/ 2147483647 w 844"/>
              <a:gd name="T5" fmla="*/ 2147483647 h 369"/>
              <a:gd name="T6" fmla="*/ 2147483647 w 844"/>
              <a:gd name="T7" fmla="*/ 0 h 369"/>
              <a:gd name="T8" fmla="*/ 0 w 844"/>
              <a:gd name="T9" fmla="*/ 0 h 369"/>
              <a:gd name="T10" fmla="*/ 0 w 844"/>
              <a:gd name="T11" fmla="*/ 2147483647 h 36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44" h="369">
                <a:moveTo>
                  <a:pt x="0" y="369"/>
                </a:moveTo>
                <a:lnTo>
                  <a:pt x="0" y="369"/>
                </a:lnTo>
                <a:lnTo>
                  <a:pt x="844" y="369"/>
                </a:lnTo>
                <a:lnTo>
                  <a:pt x="844" y="0"/>
                </a:lnTo>
                <a:lnTo>
                  <a:pt x="0" y="0"/>
                </a:lnTo>
                <a:lnTo>
                  <a:pt x="0" y="3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6553200" cy="307777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457200" y="804672"/>
            <a:ext cx="6553200" cy="2769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7162800" y="4572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fld id="{5C95F91A-6A80-4A07-A58E-543F14E71B4E}" type="datetimeFigureOut">
              <a:rPr lang="fr-FR" smtClean="0"/>
              <a:t>23/08/20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45230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iste_numérotée avec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2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3pPr marL="233363" indent="-233363">
              <a:buFont typeface="+mj-lt"/>
              <a:buAutoNum type="arabicPeriod"/>
              <a:defRPr/>
            </a:lvl3pPr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3180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ste_numérotée sans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3pPr marL="233363" indent="-233363">
              <a:buFont typeface="+mj-lt"/>
              <a:buAutoNum type="arabicPeriod"/>
              <a:defRPr/>
            </a:lvl3pPr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0571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3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>
          <a:xfrm>
            <a:off x="6583362" y="0"/>
            <a:ext cx="2103438" cy="230400"/>
          </a:xfrm>
          <a:solidFill>
            <a:schemeClr val="accent1"/>
          </a:solidFill>
        </p:spPr>
        <p:txBody>
          <a:bodyPr anchor="ctr"/>
          <a:lstStyle>
            <a:lvl1pPr algn="ct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ctr">
              <a:defRPr/>
            </a:pPr>
            <a:r>
              <a:rPr lang="en-GB" sz="1000" b="1" dirty="0">
                <a:solidFill>
                  <a:schemeClr val="bg1"/>
                </a:solidFill>
              </a:rPr>
              <a:t>Nom de la section – A modifier</a:t>
            </a:r>
          </a:p>
        </p:txBody>
      </p:sp>
    </p:spTree>
    <p:extLst>
      <p:ext uri="{BB962C8B-B14F-4D97-AF65-F5344CB8AC3E}">
        <p14:creationId xmlns:p14="http://schemas.microsoft.com/office/powerpoint/2010/main" val="11255678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sous-titre sans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546373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sous-titre avec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9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58096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Image à intégr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/>
          <p:cNvSpPr/>
          <p:nvPr/>
        </p:nvSpPr>
        <p:spPr>
          <a:xfrm>
            <a:off x="228600" y="228600"/>
            <a:ext cx="5751576" cy="1947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257800" cy="61555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err="1"/>
              <a:t>Modifiez</a:t>
            </a:r>
            <a:r>
              <a:rPr lang="en-US" dirty="0"/>
              <a:t> le style du </a:t>
            </a:r>
            <a:r>
              <a:rPr lang="en-US" dirty="0" err="1"/>
              <a:t>titre</a:t>
            </a:r>
            <a:br>
              <a:rPr lang="en-US" dirty="0"/>
            </a:br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ligne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nécessaire</a:t>
            </a:r>
            <a:endParaRPr lang="en-US" dirty="0"/>
          </a:p>
        </p:txBody>
      </p:sp>
      <p:sp>
        <p:nvSpPr>
          <p:cNvPr id="22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1828800"/>
            <a:ext cx="15240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1200"/>
            </a:lvl1pPr>
          </a:lstStyle>
          <a:p>
            <a:fld id="{5C95F91A-6A80-4A07-A58E-543F14E71B4E}" type="datetimeFigureOut">
              <a:rPr lang="fr-FR" smtClean="0"/>
              <a:t>23/08/2022</a:t>
            </a:fld>
            <a:endParaRPr lang="fr-FR"/>
          </a:p>
        </p:txBody>
      </p:sp>
      <p:sp>
        <p:nvSpPr>
          <p:cNvPr id="23" name="Footer Placeholder 3 Copyright"/>
          <p:cNvSpPr>
            <a:spLocks noGrp="1"/>
          </p:cNvSpPr>
          <p:nvPr>
            <p:ph type="ftr" sz="quarter" idx="11"/>
          </p:nvPr>
        </p:nvSpPr>
        <p:spPr>
          <a:xfrm>
            <a:off x="457199" y="6400800"/>
            <a:ext cx="5277853" cy="196552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endParaRPr lang="fr-FR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57200" y="1158874"/>
            <a:ext cx="5257800" cy="612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6948488" y="1597025"/>
            <a:ext cx="1023938" cy="333375"/>
          </a:xfrm>
          <a:custGeom>
            <a:avLst/>
            <a:gdLst>
              <a:gd name="T0" fmla="*/ 0 w 1073"/>
              <a:gd name="T1" fmla="*/ 349 h 349"/>
              <a:gd name="T2" fmla="*/ 0 w 1073"/>
              <a:gd name="T3" fmla="*/ 349 h 349"/>
              <a:gd name="T4" fmla="*/ 1073 w 1073"/>
              <a:gd name="T5" fmla="*/ 349 h 349"/>
              <a:gd name="T6" fmla="*/ 1073 w 1073"/>
              <a:gd name="T7" fmla="*/ 0 h 349"/>
              <a:gd name="T8" fmla="*/ 0 w 1073"/>
              <a:gd name="T9" fmla="*/ 0 h 349"/>
              <a:gd name="T10" fmla="*/ 0 w 1073"/>
              <a:gd name="T11" fmla="*/ 349 h 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6"/>
          <p:cNvSpPr>
            <a:spLocks/>
          </p:cNvSpPr>
          <p:nvPr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651 h 651"/>
              <a:gd name="T2" fmla="*/ 0 w 289"/>
              <a:gd name="T3" fmla="*/ 651 h 651"/>
              <a:gd name="T4" fmla="*/ 289 w 289"/>
              <a:gd name="T5" fmla="*/ 651 h 651"/>
              <a:gd name="T6" fmla="*/ 289 w 289"/>
              <a:gd name="T7" fmla="*/ 0 h 651"/>
              <a:gd name="T8" fmla="*/ 0 w 289"/>
              <a:gd name="T9" fmla="*/ 0 h 651"/>
              <a:gd name="T10" fmla="*/ 0 w 289"/>
              <a:gd name="T11" fmla="*/ 6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" name="Freeform 7"/>
          <p:cNvSpPr>
            <a:spLocks/>
          </p:cNvSpPr>
          <p:nvPr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714 h 714"/>
              <a:gd name="T2" fmla="*/ 0 w 1324"/>
              <a:gd name="T3" fmla="*/ 714 h 714"/>
              <a:gd name="T4" fmla="*/ 1324 w 1324"/>
              <a:gd name="T5" fmla="*/ 714 h 714"/>
              <a:gd name="T6" fmla="*/ 1324 w 1324"/>
              <a:gd name="T7" fmla="*/ 0 h 714"/>
              <a:gd name="T8" fmla="*/ 0 w 1324"/>
              <a:gd name="T9" fmla="*/ 0 h 714"/>
              <a:gd name="T10" fmla="*/ 0 w 1324"/>
              <a:gd name="T11" fmla="*/ 714 h 7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8" name="Freeform 8"/>
          <p:cNvSpPr>
            <a:spLocks/>
          </p:cNvSpPr>
          <p:nvPr/>
        </p:nvSpPr>
        <p:spPr bwMode="auto">
          <a:xfrm>
            <a:off x="7434263" y="5494338"/>
            <a:ext cx="1263650" cy="344488"/>
          </a:xfrm>
          <a:custGeom>
            <a:avLst/>
            <a:gdLst>
              <a:gd name="T0" fmla="*/ 0 w 1324"/>
              <a:gd name="T1" fmla="*/ 360 h 360"/>
              <a:gd name="T2" fmla="*/ 0 w 1324"/>
              <a:gd name="T3" fmla="*/ 360 h 360"/>
              <a:gd name="T4" fmla="*/ 1324 w 1324"/>
              <a:gd name="T5" fmla="*/ 360 h 360"/>
              <a:gd name="T6" fmla="*/ 1324 w 1324"/>
              <a:gd name="T7" fmla="*/ 0 h 360"/>
              <a:gd name="T8" fmla="*/ 0 w 1324"/>
              <a:gd name="T9" fmla="*/ 0 h 360"/>
              <a:gd name="T10" fmla="*/ 0 w 1324"/>
              <a:gd name="T11" fmla="*/ 36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9" name="Freeform 9"/>
          <p:cNvSpPr>
            <a:spLocks/>
          </p:cNvSpPr>
          <p:nvPr/>
        </p:nvSpPr>
        <p:spPr bwMode="auto">
          <a:xfrm>
            <a:off x="457200" y="4027488"/>
            <a:ext cx="800100" cy="1811338"/>
          </a:xfrm>
          <a:custGeom>
            <a:avLst/>
            <a:gdLst>
              <a:gd name="T0" fmla="*/ 0 w 839"/>
              <a:gd name="T1" fmla="*/ 1896 h 1896"/>
              <a:gd name="T2" fmla="*/ 0 w 839"/>
              <a:gd name="T3" fmla="*/ 1896 h 1896"/>
              <a:gd name="T4" fmla="*/ 839 w 839"/>
              <a:gd name="T5" fmla="*/ 1896 h 1896"/>
              <a:gd name="T6" fmla="*/ 839 w 839"/>
              <a:gd name="T7" fmla="*/ 0 h 1896"/>
              <a:gd name="T8" fmla="*/ 0 w 839"/>
              <a:gd name="T9" fmla="*/ 0 h 1896"/>
              <a:gd name="T10" fmla="*/ 0 w 839"/>
              <a:gd name="T11" fmla="*/ 1896 h 1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0" name="Freeform 10"/>
          <p:cNvSpPr>
            <a:spLocks/>
          </p:cNvSpPr>
          <p:nvPr/>
        </p:nvSpPr>
        <p:spPr bwMode="auto">
          <a:xfrm>
            <a:off x="4860925" y="5037138"/>
            <a:ext cx="1031875" cy="338138"/>
          </a:xfrm>
          <a:custGeom>
            <a:avLst/>
            <a:gdLst>
              <a:gd name="T0" fmla="*/ 0 w 1081"/>
              <a:gd name="T1" fmla="*/ 354 h 354"/>
              <a:gd name="T2" fmla="*/ 0 w 1081"/>
              <a:gd name="T3" fmla="*/ 354 h 354"/>
              <a:gd name="T4" fmla="*/ 1081 w 1081"/>
              <a:gd name="T5" fmla="*/ 354 h 354"/>
              <a:gd name="T6" fmla="*/ 1081 w 1081"/>
              <a:gd name="T7" fmla="*/ 0 h 354"/>
              <a:gd name="T8" fmla="*/ 0 w 1081"/>
              <a:gd name="T9" fmla="*/ 0 h 354"/>
              <a:gd name="T10" fmla="*/ 0 w 1081"/>
              <a:gd name="T11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Freeform 11"/>
          <p:cNvSpPr>
            <a:spLocks/>
          </p:cNvSpPr>
          <p:nvPr/>
        </p:nvSpPr>
        <p:spPr bwMode="auto">
          <a:xfrm>
            <a:off x="2300288" y="3571875"/>
            <a:ext cx="2074863" cy="903288"/>
          </a:xfrm>
          <a:custGeom>
            <a:avLst/>
            <a:gdLst>
              <a:gd name="T0" fmla="*/ 0 w 2175"/>
              <a:gd name="T1" fmla="*/ 945 h 945"/>
              <a:gd name="T2" fmla="*/ 0 w 2175"/>
              <a:gd name="T3" fmla="*/ 945 h 945"/>
              <a:gd name="T4" fmla="*/ 2175 w 2175"/>
              <a:gd name="T5" fmla="*/ 945 h 945"/>
              <a:gd name="T6" fmla="*/ 2175 w 2175"/>
              <a:gd name="T7" fmla="*/ 0 h 945"/>
              <a:gd name="T8" fmla="*/ 0 w 2175"/>
              <a:gd name="T9" fmla="*/ 0 h 945"/>
              <a:gd name="T10" fmla="*/ 0 w 2175"/>
              <a:gd name="T11" fmla="*/ 945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6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089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City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096000"/>
            <a:ext cx="9144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28600" y="228600"/>
            <a:ext cx="5751513" cy="1947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6948488" y="1597025"/>
            <a:ext cx="1023937" cy="333375"/>
          </a:xfrm>
          <a:custGeom>
            <a:avLst/>
            <a:gdLst>
              <a:gd name="T0" fmla="*/ 0 w 1073"/>
              <a:gd name="T1" fmla="*/ 2147483647 h 349"/>
              <a:gd name="T2" fmla="*/ 0 w 1073"/>
              <a:gd name="T3" fmla="*/ 2147483647 h 349"/>
              <a:gd name="T4" fmla="*/ 2147483647 w 1073"/>
              <a:gd name="T5" fmla="*/ 2147483647 h 349"/>
              <a:gd name="T6" fmla="*/ 2147483647 w 1073"/>
              <a:gd name="T7" fmla="*/ 0 h 349"/>
              <a:gd name="T8" fmla="*/ 0 w 1073"/>
              <a:gd name="T9" fmla="*/ 0 h 349"/>
              <a:gd name="T10" fmla="*/ 0 w 1073"/>
              <a:gd name="T11" fmla="*/ 2147483647 h 34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2147483647 h 651"/>
              <a:gd name="T2" fmla="*/ 0 w 289"/>
              <a:gd name="T3" fmla="*/ 2147483647 h 651"/>
              <a:gd name="T4" fmla="*/ 2147483647 w 289"/>
              <a:gd name="T5" fmla="*/ 2147483647 h 651"/>
              <a:gd name="T6" fmla="*/ 2147483647 w 289"/>
              <a:gd name="T7" fmla="*/ 0 h 651"/>
              <a:gd name="T8" fmla="*/ 0 w 289"/>
              <a:gd name="T9" fmla="*/ 0 h 651"/>
              <a:gd name="T10" fmla="*/ 0 w 289"/>
              <a:gd name="T11" fmla="*/ 2147483647 h 6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2147483647 h 714"/>
              <a:gd name="T2" fmla="*/ 0 w 1324"/>
              <a:gd name="T3" fmla="*/ 2147483647 h 714"/>
              <a:gd name="T4" fmla="*/ 2147483647 w 1324"/>
              <a:gd name="T5" fmla="*/ 2147483647 h 714"/>
              <a:gd name="T6" fmla="*/ 2147483647 w 1324"/>
              <a:gd name="T7" fmla="*/ 0 h 714"/>
              <a:gd name="T8" fmla="*/ 0 w 1324"/>
              <a:gd name="T9" fmla="*/ 0 h 714"/>
              <a:gd name="T10" fmla="*/ 0 w 1324"/>
              <a:gd name="T11" fmla="*/ 2147483647 h 7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7434263" y="5494338"/>
            <a:ext cx="1263650" cy="344487"/>
          </a:xfrm>
          <a:custGeom>
            <a:avLst/>
            <a:gdLst>
              <a:gd name="T0" fmla="*/ 0 w 1324"/>
              <a:gd name="T1" fmla="*/ 2147483647 h 360"/>
              <a:gd name="T2" fmla="*/ 0 w 1324"/>
              <a:gd name="T3" fmla="*/ 2147483647 h 360"/>
              <a:gd name="T4" fmla="*/ 2147483647 w 1324"/>
              <a:gd name="T5" fmla="*/ 2147483647 h 360"/>
              <a:gd name="T6" fmla="*/ 2147483647 w 1324"/>
              <a:gd name="T7" fmla="*/ 0 h 360"/>
              <a:gd name="T8" fmla="*/ 0 w 1324"/>
              <a:gd name="T9" fmla="*/ 0 h 360"/>
              <a:gd name="T10" fmla="*/ 0 w 1324"/>
              <a:gd name="T11" fmla="*/ 2147483647 h 3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474663" y="4027488"/>
            <a:ext cx="800100" cy="1811337"/>
          </a:xfrm>
          <a:custGeom>
            <a:avLst/>
            <a:gdLst>
              <a:gd name="T0" fmla="*/ 0 w 839"/>
              <a:gd name="T1" fmla="*/ 2147483647 h 1896"/>
              <a:gd name="T2" fmla="*/ 0 w 839"/>
              <a:gd name="T3" fmla="*/ 2147483647 h 1896"/>
              <a:gd name="T4" fmla="*/ 2147483647 w 839"/>
              <a:gd name="T5" fmla="*/ 2147483647 h 1896"/>
              <a:gd name="T6" fmla="*/ 2147483647 w 839"/>
              <a:gd name="T7" fmla="*/ 0 h 1896"/>
              <a:gd name="T8" fmla="*/ 0 w 839"/>
              <a:gd name="T9" fmla="*/ 0 h 1896"/>
              <a:gd name="T10" fmla="*/ 0 w 839"/>
              <a:gd name="T11" fmla="*/ 2147483647 h 18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4860925" y="5037138"/>
            <a:ext cx="1031875" cy="338137"/>
          </a:xfrm>
          <a:custGeom>
            <a:avLst/>
            <a:gdLst>
              <a:gd name="T0" fmla="*/ 0 w 1081"/>
              <a:gd name="T1" fmla="*/ 2147483647 h 354"/>
              <a:gd name="T2" fmla="*/ 0 w 1081"/>
              <a:gd name="T3" fmla="*/ 2147483647 h 354"/>
              <a:gd name="T4" fmla="*/ 2147483647 w 1081"/>
              <a:gd name="T5" fmla="*/ 2147483647 h 354"/>
              <a:gd name="T6" fmla="*/ 2147483647 w 1081"/>
              <a:gd name="T7" fmla="*/ 0 h 354"/>
              <a:gd name="T8" fmla="*/ 0 w 1081"/>
              <a:gd name="T9" fmla="*/ 0 h 354"/>
              <a:gd name="T10" fmla="*/ 0 w 1081"/>
              <a:gd name="T11" fmla="*/ 2147483647 h 3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2300288" y="3571875"/>
            <a:ext cx="2074862" cy="903288"/>
          </a:xfrm>
          <a:custGeom>
            <a:avLst/>
            <a:gdLst>
              <a:gd name="T0" fmla="*/ 0 w 2175"/>
              <a:gd name="T1" fmla="*/ 2147483647 h 945"/>
              <a:gd name="T2" fmla="*/ 0 w 2175"/>
              <a:gd name="T3" fmla="*/ 2147483647 h 945"/>
              <a:gd name="T4" fmla="*/ 2147483647 w 2175"/>
              <a:gd name="T5" fmla="*/ 2147483647 h 945"/>
              <a:gd name="T6" fmla="*/ 2147483647 w 2175"/>
              <a:gd name="T7" fmla="*/ 0 h 945"/>
              <a:gd name="T8" fmla="*/ 0 w 2175"/>
              <a:gd name="T9" fmla="*/ 0 h 945"/>
              <a:gd name="T10" fmla="*/ 0 w 2175"/>
              <a:gd name="T11" fmla="*/ 2147483647 h 94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24" y="457200"/>
            <a:ext cx="5257800" cy="61555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63024" y="1158874"/>
            <a:ext cx="5257800" cy="6126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4"/>
          </p:nvPr>
        </p:nvSpPr>
        <p:spPr>
          <a:xfrm>
            <a:off x="463550" y="18288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fld id="{5C95F91A-6A80-4A07-A58E-543F14E71B4E}" type="datetimeFigureOut">
              <a:rPr lang="fr-FR" smtClean="0"/>
              <a:t>23/08/2022</a:t>
            </a:fld>
            <a:endParaRPr lang="fr-FR"/>
          </a:p>
        </p:txBody>
      </p:sp>
      <p:sp>
        <p:nvSpPr>
          <p:cNvPr id="17" name="Footer Placeholder 3 Copyright"/>
          <p:cNvSpPr>
            <a:spLocks noGrp="1"/>
          </p:cNvSpPr>
          <p:nvPr>
            <p:ph type="ftr" sz="quarter" idx="15"/>
          </p:nvPr>
        </p:nvSpPr>
        <p:spPr>
          <a:xfrm>
            <a:off x="393700" y="6437313"/>
            <a:ext cx="2043113" cy="225425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Arial" charset="0"/>
                <a:cs typeface="Arial" charset="0"/>
              </a:defRPr>
            </a:lvl1pPr>
          </a:lstStyle>
          <a:p>
            <a:endParaRPr lang="fr-FR"/>
          </a:p>
        </p:txBody>
      </p:sp>
      <p:pic>
        <p:nvPicPr>
          <p:cNvPr id="18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68470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People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096000"/>
            <a:ext cx="9144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28600" y="228600"/>
            <a:ext cx="5751513" cy="1947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6948488" y="1597025"/>
            <a:ext cx="1023937" cy="333375"/>
          </a:xfrm>
          <a:custGeom>
            <a:avLst/>
            <a:gdLst>
              <a:gd name="T0" fmla="*/ 0 w 1073"/>
              <a:gd name="T1" fmla="*/ 2147483647 h 349"/>
              <a:gd name="T2" fmla="*/ 0 w 1073"/>
              <a:gd name="T3" fmla="*/ 2147483647 h 349"/>
              <a:gd name="T4" fmla="*/ 2147483647 w 1073"/>
              <a:gd name="T5" fmla="*/ 2147483647 h 349"/>
              <a:gd name="T6" fmla="*/ 2147483647 w 1073"/>
              <a:gd name="T7" fmla="*/ 0 h 349"/>
              <a:gd name="T8" fmla="*/ 0 w 1073"/>
              <a:gd name="T9" fmla="*/ 0 h 349"/>
              <a:gd name="T10" fmla="*/ 0 w 1073"/>
              <a:gd name="T11" fmla="*/ 2147483647 h 34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2147483647 h 651"/>
              <a:gd name="T2" fmla="*/ 0 w 289"/>
              <a:gd name="T3" fmla="*/ 2147483647 h 651"/>
              <a:gd name="T4" fmla="*/ 2147483647 w 289"/>
              <a:gd name="T5" fmla="*/ 2147483647 h 651"/>
              <a:gd name="T6" fmla="*/ 2147483647 w 289"/>
              <a:gd name="T7" fmla="*/ 0 h 651"/>
              <a:gd name="T8" fmla="*/ 0 w 289"/>
              <a:gd name="T9" fmla="*/ 0 h 651"/>
              <a:gd name="T10" fmla="*/ 0 w 289"/>
              <a:gd name="T11" fmla="*/ 2147483647 h 6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2147483647 h 714"/>
              <a:gd name="T2" fmla="*/ 0 w 1324"/>
              <a:gd name="T3" fmla="*/ 2147483647 h 714"/>
              <a:gd name="T4" fmla="*/ 2147483647 w 1324"/>
              <a:gd name="T5" fmla="*/ 2147483647 h 714"/>
              <a:gd name="T6" fmla="*/ 2147483647 w 1324"/>
              <a:gd name="T7" fmla="*/ 0 h 714"/>
              <a:gd name="T8" fmla="*/ 0 w 1324"/>
              <a:gd name="T9" fmla="*/ 0 h 714"/>
              <a:gd name="T10" fmla="*/ 0 w 1324"/>
              <a:gd name="T11" fmla="*/ 2147483647 h 7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7434263" y="5494338"/>
            <a:ext cx="1263650" cy="344487"/>
          </a:xfrm>
          <a:custGeom>
            <a:avLst/>
            <a:gdLst>
              <a:gd name="T0" fmla="*/ 0 w 1324"/>
              <a:gd name="T1" fmla="*/ 2147483647 h 360"/>
              <a:gd name="T2" fmla="*/ 0 w 1324"/>
              <a:gd name="T3" fmla="*/ 2147483647 h 360"/>
              <a:gd name="T4" fmla="*/ 2147483647 w 1324"/>
              <a:gd name="T5" fmla="*/ 2147483647 h 360"/>
              <a:gd name="T6" fmla="*/ 2147483647 w 1324"/>
              <a:gd name="T7" fmla="*/ 0 h 360"/>
              <a:gd name="T8" fmla="*/ 0 w 1324"/>
              <a:gd name="T9" fmla="*/ 0 h 360"/>
              <a:gd name="T10" fmla="*/ 0 w 1324"/>
              <a:gd name="T11" fmla="*/ 2147483647 h 3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474663" y="4027488"/>
            <a:ext cx="800100" cy="1811337"/>
          </a:xfrm>
          <a:custGeom>
            <a:avLst/>
            <a:gdLst>
              <a:gd name="T0" fmla="*/ 0 w 839"/>
              <a:gd name="T1" fmla="*/ 2147483647 h 1896"/>
              <a:gd name="T2" fmla="*/ 0 w 839"/>
              <a:gd name="T3" fmla="*/ 2147483647 h 1896"/>
              <a:gd name="T4" fmla="*/ 2147483647 w 839"/>
              <a:gd name="T5" fmla="*/ 2147483647 h 1896"/>
              <a:gd name="T6" fmla="*/ 2147483647 w 839"/>
              <a:gd name="T7" fmla="*/ 0 h 1896"/>
              <a:gd name="T8" fmla="*/ 0 w 839"/>
              <a:gd name="T9" fmla="*/ 0 h 1896"/>
              <a:gd name="T10" fmla="*/ 0 w 839"/>
              <a:gd name="T11" fmla="*/ 2147483647 h 18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4860925" y="5037138"/>
            <a:ext cx="1031875" cy="338137"/>
          </a:xfrm>
          <a:custGeom>
            <a:avLst/>
            <a:gdLst>
              <a:gd name="T0" fmla="*/ 0 w 1081"/>
              <a:gd name="T1" fmla="*/ 2147483647 h 354"/>
              <a:gd name="T2" fmla="*/ 0 w 1081"/>
              <a:gd name="T3" fmla="*/ 2147483647 h 354"/>
              <a:gd name="T4" fmla="*/ 2147483647 w 1081"/>
              <a:gd name="T5" fmla="*/ 2147483647 h 354"/>
              <a:gd name="T6" fmla="*/ 2147483647 w 1081"/>
              <a:gd name="T7" fmla="*/ 0 h 354"/>
              <a:gd name="T8" fmla="*/ 0 w 1081"/>
              <a:gd name="T9" fmla="*/ 0 h 354"/>
              <a:gd name="T10" fmla="*/ 0 w 1081"/>
              <a:gd name="T11" fmla="*/ 2147483647 h 3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2300288" y="3571875"/>
            <a:ext cx="2074862" cy="903288"/>
          </a:xfrm>
          <a:custGeom>
            <a:avLst/>
            <a:gdLst>
              <a:gd name="T0" fmla="*/ 0 w 2175"/>
              <a:gd name="T1" fmla="*/ 2147483647 h 945"/>
              <a:gd name="T2" fmla="*/ 0 w 2175"/>
              <a:gd name="T3" fmla="*/ 2147483647 h 945"/>
              <a:gd name="T4" fmla="*/ 2147483647 w 2175"/>
              <a:gd name="T5" fmla="*/ 2147483647 h 945"/>
              <a:gd name="T6" fmla="*/ 2147483647 w 2175"/>
              <a:gd name="T7" fmla="*/ 0 h 945"/>
              <a:gd name="T8" fmla="*/ 0 w 2175"/>
              <a:gd name="T9" fmla="*/ 0 h 945"/>
              <a:gd name="T10" fmla="*/ 0 w 2175"/>
              <a:gd name="T11" fmla="*/ 2147483647 h 94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24" y="457200"/>
            <a:ext cx="5257800" cy="61555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63024" y="1158874"/>
            <a:ext cx="5257800" cy="6126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4"/>
          </p:nvPr>
        </p:nvSpPr>
        <p:spPr>
          <a:xfrm>
            <a:off x="463550" y="18288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fld id="{5C95F91A-6A80-4A07-A58E-543F14E71B4E}" type="datetimeFigureOut">
              <a:rPr lang="fr-FR" smtClean="0"/>
              <a:t>23/08/2022</a:t>
            </a:fld>
            <a:endParaRPr lang="fr-FR"/>
          </a:p>
        </p:txBody>
      </p:sp>
      <p:sp>
        <p:nvSpPr>
          <p:cNvPr id="17" name="Footer Placeholder 3 Copyright"/>
          <p:cNvSpPr>
            <a:spLocks noGrp="1"/>
          </p:cNvSpPr>
          <p:nvPr>
            <p:ph type="ftr" sz="quarter" idx="15"/>
          </p:nvPr>
        </p:nvSpPr>
        <p:spPr>
          <a:xfrm>
            <a:off x="393700" y="6437313"/>
            <a:ext cx="2043113" cy="225425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Arial" charset="0"/>
                <a:cs typeface="Arial" charset="0"/>
              </a:defRPr>
            </a:lvl1pPr>
          </a:lstStyle>
          <a:p>
            <a:endParaRPr lang="fr-FR"/>
          </a:p>
        </p:txBody>
      </p:sp>
      <p:pic>
        <p:nvPicPr>
          <p:cNvPr id="18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1227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re 1"/>
          <p:cNvSpPr txBox="1">
            <a:spLocks/>
          </p:cNvSpPr>
          <p:nvPr/>
        </p:nvSpPr>
        <p:spPr bwMode="auto">
          <a:xfrm>
            <a:off x="4219575" y="2408238"/>
            <a:ext cx="4924425" cy="20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664" tIns="42332" rIns="84664" bIns="42332" numCol="1" anchor="ctr" anchorCtr="0" compatLnSpc="1">
            <a:prstTxWarp prst="textNoShape">
              <a:avLst/>
            </a:prstTxWarp>
          </a:bodyPr>
          <a:lstStyle>
            <a:lvl1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003B7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2pPr>
            <a:lvl3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3pPr>
            <a:lvl4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4pPr>
            <a:lvl5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5pPr>
            <a:lvl6pPr marL="348847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6pPr>
            <a:lvl7pPr marL="697695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7pPr>
            <a:lvl8pPr marL="1046542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8pPr>
            <a:lvl9pPr marL="1395389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2600" dirty="0"/>
              <a:t>GRAS SAVOYE</a:t>
            </a: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0" y="3200102"/>
            <a:ext cx="9144000" cy="792163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54158" tIns="77078" rIns="154158" bIns="77078" anchor="ctr"/>
          <a:lstStyle/>
          <a:p>
            <a:pPr algn="ctr" defTabSz="1350963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2700" dirty="0">
              <a:latin typeface="Arial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555777" y="3200183"/>
            <a:ext cx="3995932" cy="792000"/>
          </a:xfrm>
          <a:solidFill>
            <a:srgbClr val="333333"/>
          </a:solidFill>
          <a:ln>
            <a:noFill/>
          </a:ln>
        </p:spPr>
        <p:txBody>
          <a:bodyPr wrap="none" lIns="135119" tIns="67559" rIns="135119" bIns="67559" anchor="ctr"/>
          <a:lstStyle>
            <a:lvl1pPr algn="ctr">
              <a:defRPr lang="fr-FR" sz="2700">
                <a:solidFill>
                  <a:schemeClr val="bg1"/>
                </a:solidFill>
                <a:latin typeface="Candara" pitchFamily="34" charset="0"/>
                <a:ea typeface="+mn-ea"/>
                <a:cs typeface="+mn-cs"/>
              </a:defRPr>
            </a:lvl1pPr>
          </a:lstStyle>
          <a:p>
            <a:pPr marL="0" lvl="0" algn="ctr" defTabSz="1350963" latinLnBrk="0"/>
            <a:r>
              <a:rPr lang="fr-FR" dirty="0"/>
              <a:t>TITRE DE CHAPITRE</a:t>
            </a:r>
          </a:p>
        </p:txBody>
      </p:sp>
    </p:spTree>
    <p:extLst>
      <p:ext uri="{BB962C8B-B14F-4D97-AF65-F5344CB8AC3E}">
        <p14:creationId xmlns:p14="http://schemas.microsoft.com/office/powerpoint/2010/main" val="3512242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1872367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cxnSp>
        <p:nvCxnSpPr>
          <p:cNvPr id="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0976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leu">
    <p:bg>
      <p:bgPr>
        <a:solidFill>
          <a:srgbClr val="C8D7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67544" y="1916832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21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Vert">
    <p:bg>
      <p:bgPr>
        <a:solidFill>
          <a:srgbClr val="D8DB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67544" y="1916832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9721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vider Rose">
    <p:bg>
      <p:bgPr>
        <a:solidFill>
          <a:srgbClr val="DDD0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1872367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46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4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495800" cy="304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66936" y="5985284"/>
            <a:ext cx="5582989" cy="612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539552" y="5933750"/>
            <a:ext cx="481416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GRAS SAVOYE, société de courtage d’</a:t>
            </a:r>
            <a:r>
              <a:rPr lang="fr-FR" altLang="ja-JP" sz="600" b="0" dirty="0">
                <a:solidFill>
                  <a:schemeClr val="tx1"/>
                </a:solidFill>
                <a:latin typeface="Arial"/>
                <a:cs typeface="Arial"/>
              </a:rPr>
              <a:t>assurance et de réassurance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Siège Social : Immeuble Quai 33, 33/34 quai de Dion-Bouton, CS 70001, 92814 Puteaux Cedex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Tél : 01 41 43 50 00.  Télécopie : 01 41 43 55 55. http://</a:t>
            </a:r>
            <a:r>
              <a:rPr lang="fr-FR" sz="600" b="0" dirty="0" err="1">
                <a:solidFill>
                  <a:schemeClr val="tx1"/>
                </a:solidFill>
                <a:latin typeface="Arial"/>
                <a:cs typeface="Arial"/>
              </a:rPr>
              <a:t>www.grassavoye.com</a:t>
            </a:r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Société par actions simplifiée au capital de 1 432 600 euros. 311 248 637 RCS Nanterre. N° FR 61311248637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Intermédiaire immatriculé à l'ORIAS sous le n° 07 001 707 (http://</a:t>
            </a:r>
            <a:r>
              <a:rPr lang="fr-FR" sz="600" b="0" dirty="0" err="1">
                <a:solidFill>
                  <a:schemeClr val="tx1"/>
                </a:solidFill>
                <a:latin typeface="Arial"/>
                <a:cs typeface="Arial"/>
              </a:rPr>
              <a:t>www.orias.fr</a:t>
            </a:r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)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Gras Savoye est soumis au contrôle de l'ACPR (Autorité de Contrôle Prudentiel et de Résolution) 61 rue </a:t>
            </a:r>
            <a:r>
              <a:rPr lang="fr-FR" sz="600" b="0" dirty="0" err="1">
                <a:solidFill>
                  <a:schemeClr val="tx1"/>
                </a:solidFill>
                <a:latin typeface="Arial"/>
                <a:cs typeface="Arial"/>
              </a:rPr>
              <a:t>Taitbout</a:t>
            </a:r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 75436 Paris Cedex 9 </a:t>
            </a:r>
          </a:p>
        </p:txBody>
      </p:sp>
    </p:spTree>
    <p:extLst>
      <p:ext uri="{BB962C8B-B14F-4D97-AF65-F5344CB8AC3E}">
        <p14:creationId xmlns:p14="http://schemas.microsoft.com/office/powerpoint/2010/main" val="37563195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ux_colones avec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2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0" y="1524000"/>
            <a:ext cx="3962400" cy="4572000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48200" y="1524000"/>
            <a:ext cx="4038600" cy="457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475921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ise_en_exergue_Elé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14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0" y="1521848"/>
            <a:ext cx="4876800" cy="4572000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/>
          </p:nvPr>
        </p:nvSpPr>
        <p:spPr>
          <a:xfrm>
            <a:off x="5486400" y="1521848"/>
            <a:ext cx="3200400" cy="4038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652120" y="1715424"/>
            <a:ext cx="2880320" cy="3672408"/>
          </a:xfrm>
        </p:spPr>
        <p:txBody>
          <a:bodyPr/>
          <a:lstStyle>
            <a:lvl1pPr>
              <a:spcBef>
                <a:spcPts val="0"/>
              </a:spcBef>
              <a:spcAft>
                <a:spcPts val="1000"/>
              </a:spcAft>
              <a:defRPr baseline="0">
                <a:solidFill>
                  <a:schemeClr val="accent1"/>
                </a:solidFill>
                <a:latin typeface="Arial" pitchFamily="34" charset="0"/>
              </a:defRPr>
            </a:lvl1pPr>
            <a:lvl2pPr>
              <a:spcAft>
                <a:spcPts val="400"/>
              </a:spcAf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368105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ograp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3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57200" y="1524000"/>
            <a:ext cx="1524000" cy="1905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33600" y="1524000"/>
            <a:ext cx="6553200" cy="4572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 lang="en-US" dirty="0" smtClean="0"/>
            </a:lvl1pPr>
            <a:lvl2pPr>
              <a:spcBef>
                <a:spcPts val="0"/>
              </a:spcBef>
              <a:spcAft>
                <a:spcPts val="400"/>
              </a:spcAft>
              <a:defRPr lang="en-US" dirty="0" smtClean="0"/>
            </a:lvl2pPr>
            <a:lvl3pPr>
              <a:spcBef>
                <a:spcPts val="0"/>
              </a:spcBef>
              <a:spcAft>
                <a:spcPts val="400"/>
              </a:spcAft>
              <a:buFont typeface="Wingdings" pitchFamily="2" charset="2"/>
              <a:buChar char="§"/>
              <a:defRPr lang="en-US" dirty="0" smtClean="0"/>
            </a:lvl3pPr>
            <a:lvl4pPr marL="457200" indent="-228600">
              <a:buClr>
                <a:schemeClr val="tx2"/>
              </a:buClr>
              <a:buFont typeface="Wingdings" panose="05000000000000000000" pitchFamily="2" charset="2"/>
              <a:buChar char=""/>
              <a:defRPr/>
            </a:lvl4pPr>
            <a:lvl5pPr>
              <a:buFont typeface="Arial" panose="020B0604020202020204" pitchFamily="34" charset="0"/>
              <a:buChar char="˗"/>
              <a:defRPr baseline="0"/>
            </a:lvl5pPr>
            <a:lvl7pPr>
              <a:defRPr baseline="0"/>
            </a:lvl7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8299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1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900" b="0" i="0" baseline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430910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929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/>
          <p:cNvGrpSpPr/>
          <p:nvPr/>
        </p:nvGrpSpPr>
        <p:grpSpPr>
          <a:xfrm>
            <a:off x="-11270" y="2264001"/>
            <a:ext cx="9155270" cy="4498752"/>
            <a:chOff x="-11270" y="2264001"/>
            <a:chExt cx="9155270" cy="4498752"/>
          </a:xfrm>
        </p:grpSpPr>
        <p:sp>
          <p:nvSpPr>
            <p:cNvPr id="16" name="Rectangle 3"/>
            <p:cNvSpPr/>
            <p:nvPr userDrawn="1"/>
          </p:nvSpPr>
          <p:spPr>
            <a:xfrm flipH="1">
              <a:off x="8297665" y="2264002"/>
              <a:ext cx="846335" cy="2711112"/>
            </a:xfrm>
            <a:custGeom>
              <a:avLst/>
              <a:gdLst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92088 w 792088"/>
                <a:gd name="connsiteY2" fmla="*/ 2196000 h 2196000"/>
                <a:gd name="connsiteX3" fmla="*/ 0 w 792088"/>
                <a:gd name="connsiteY3" fmla="*/ 2196000 h 2196000"/>
                <a:gd name="connsiteX4" fmla="*/ 0 w 792088"/>
                <a:gd name="connsiteY4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80658 w 792088"/>
                <a:gd name="connsiteY3" fmla="*/ 218457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9810"/>
                <a:gd name="connsiteX1" fmla="*/ 792088 w 792088"/>
                <a:gd name="connsiteY1" fmla="*/ 0 h 2199810"/>
                <a:gd name="connsiteX2" fmla="*/ 707072 w 792088"/>
                <a:gd name="connsiteY2" fmla="*/ 1109454 h 2199810"/>
                <a:gd name="connsiteX3" fmla="*/ 788278 w 792088"/>
                <a:gd name="connsiteY3" fmla="*/ 2199810 h 2199810"/>
                <a:gd name="connsiteX4" fmla="*/ 0 w 792088"/>
                <a:gd name="connsiteY4" fmla="*/ 2196000 h 2199810"/>
                <a:gd name="connsiteX5" fmla="*/ 0 w 792088"/>
                <a:gd name="connsiteY5" fmla="*/ 0 h 2199810"/>
                <a:gd name="connsiteX0" fmla="*/ 0 w 792088"/>
                <a:gd name="connsiteY0" fmla="*/ 0 h 2199810"/>
                <a:gd name="connsiteX1" fmla="*/ 792088 w 792088"/>
                <a:gd name="connsiteY1" fmla="*/ 0 h 2199810"/>
                <a:gd name="connsiteX2" fmla="*/ 707072 w 792088"/>
                <a:gd name="connsiteY2" fmla="*/ 1109454 h 2199810"/>
                <a:gd name="connsiteX3" fmla="*/ 788278 w 792088"/>
                <a:gd name="connsiteY3" fmla="*/ 2199810 h 2199810"/>
                <a:gd name="connsiteX4" fmla="*/ 0 w 792088"/>
                <a:gd name="connsiteY4" fmla="*/ 2196000 h 2199810"/>
                <a:gd name="connsiteX5" fmla="*/ 0 w 792088"/>
                <a:gd name="connsiteY5" fmla="*/ 0 h 2199810"/>
                <a:gd name="connsiteX0" fmla="*/ 3810 w 795898"/>
                <a:gd name="connsiteY0" fmla="*/ 0 h 2211240"/>
                <a:gd name="connsiteX1" fmla="*/ 795898 w 795898"/>
                <a:gd name="connsiteY1" fmla="*/ 0 h 2211240"/>
                <a:gd name="connsiteX2" fmla="*/ 710882 w 795898"/>
                <a:gd name="connsiteY2" fmla="*/ 1109454 h 2211240"/>
                <a:gd name="connsiteX3" fmla="*/ 792088 w 795898"/>
                <a:gd name="connsiteY3" fmla="*/ 2199810 h 2211240"/>
                <a:gd name="connsiteX4" fmla="*/ 0 w 795898"/>
                <a:gd name="connsiteY4" fmla="*/ 2211240 h 2211240"/>
                <a:gd name="connsiteX5" fmla="*/ 3810 w 795898"/>
                <a:gd name="connsiteY5" fmla="*/ 0 h 2211240"/>
                <a:gd name="connsiteX0" fmla="*/ 3810 w 795898"/>
                <a:gd name="connsiteY0" fmla="*/ 0 h 2199810"/>
                <a:gd name="connsiteX1" fmla="*/ 795898 w 795898"/>
                <a:gd name="connsiteY1" fmla="*/ 0 h 2199810"/>
                <a:gd name="connsiteX2" fmla="*/ 710882 w 795898"/>
                <a:gd name="connsiteY2" fmla="*/ 1109454 h 2199810"/>
                <a:gd name="connsiteX3" fmla="*/ 792088 w 795898"/>
                <a:gd name="connsiteY3" fmla="*/ 2199810 h 2199810"/>
                <a:gd name="connsiteX4" fmla="*/ 0 w 795898"/>
                <a:gd name="connsiteY4" fmla="*/ 2199810 h 2199810"/>
                <a:gd name="connsiteX5" fmla="*/ 3810 w 795898"/>
                <a:gd name="connsiteY5" fmla="*/ 0 h 2199810"/>
                <a:gd name="connsiteX0" fmla="*/ 3810 w 842888"/>
                <a:gd name="connsiteY0" fmla="*/ 0 h 2199810"/>
                <a:gd name="connsiteX1" fmla="*/ 795898 w 842888"/>
                <a:gd name="connsiteY1" fmla="*/ 0 h 2199810"/>
                <a:gd name="connsiteX2" fmla="*/ 710882 w 842888"/>
                <a:gd name="connsiteY2" fmla="*/ 1109454 h 2199810"/>
                <a:gd name="connsiteX3" fmla="*/ 842888 w 842888"/>
                <a:gd name="connsiteY3" fmla="*/ 2199810 h 2199810"/>
                <a:gd name="connsiteX4" fmla="*/ 0 w 842888"/>
                <a:gd name="connsiteY4" fmla="*/ 2199810 h 2199810"/>
                <a:gd name="connsiteX5" fmla="*/ 3810 w 842888"/>
                <a:gd name="connsiteY5" fmla="*/ 0 h 2199810"/>
                <a:gd name="connsiteX0" fmla="*/ 3810 w 842888"/>
                <a:gd name="connsiteY0" fmla="*/ 0 h 2199810"/>
                <a:gd name="connsiteX1" fmla="*/ 795898 w 842888"/>
                <a:gd name="connsiteY1" fmla="*/ 0 h 2199810"/>
                <a:gd name="connsiteX2" fmla="*/ 710882 w 842888"/>
                <a:gd name="connsiteY2" fmla="*/ 1109454 h 2199810"/>
                <a:gd name="connsiteX3" fmla="*/ 842888 w 842888"/>
                <a:gd name="connsiteY3" fmla="*/ 2199810 h 2199810"/>
                <a:gd name="connsiteX4" fmla="*/ 0 w 842888"/>
                <a:gd name="connsiteY4" fmla="*/ 2199810 h 2199810"/>
                <a:gd name="connsiteX5" fmla="*/ 3810 w 842888"/>
                <a:gd name="connsiteY5" fmla="*/ 0 h 2199810"/>
                <a:gd name="connsiteX0" fmla="*/ 0 w 846335"/>
                <a:gd name="connsiteY0" fmla="*/ 0 h 2199810"/>
                <a:gd name="connsiteX1" fmla="*/ 799345 w 846335"/>
                <a:gd name="connsiteY1" fmla="*/ 0 h 2199810"/>
                <a:gd name="connsiteX2" fmla="*/ 714329 w 846335"/>
                <a:gd name="connsiteY2" fmla="*/ 1109454 h 2199810"/>
                <a:gd name="connsiteX3" fmla="*/ 846335 w 846335"/>
                <a:gd name="connsiteY3" fmla="*/ 2199810 h 2199810"/>
                <a:gd name="connsiteX4" fmla="*/ 3447 w 846335"/>
                <a:gd name="connsiteY4" fmla="*/ 2199810 h 2199810"/>
                <a:gd name="connsiteX5" fmla="*/ 0 w 846335"/>
                <a:gd name="connsiteY5" fmla="*/ 0 h 219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6335" h="2199810">
                  <a:moveTo>
                    <a:pt x="0" y="0"/>
                  </a:moveTo>
                  <a:lnTo>
                    <a:pt x="799345" y="0"/>
                  </a:lnTo>
                  <a:cubicBezTo>
                    <a:pt x="757036" y="371088"/>
                    <a:pt x="714728" y="711696"/>
                    <a:pt x="714329" y="1109454"/>
                  </a:cubicBezTo>
                  <a:cubicBezTo>
                    <a:pt x="719808" y="1475446"/>
                    <a:pt x="788604" y="1837628"/>
                    <a:pt x="846335" y="2199810"/>
                  </a:cubicBezTo>
                  <a:lnTo>
                    <a:pt x="3447" y="2199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D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8" name="Rectangle 1"/>
            <p:cNvSpPr/>
            <p:nvPr userDrawn="1"/>
          </p:nvSpPr>
          <p:spPr>
            <a:xfrm flipH="1">
              <a:off x="-11270" y="2264002"/>
              <a:ext cx="6383469" cy="2245118"/>
            </a:xfrm>
            <a:custGeom>
              <a:avLst/>
              <a:gdLst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2245118 h 2245118"/>
                <a:gd name="connsiteX3" fmla="*/ 0 w 6365348"/>
                <a:gd name="connsiteY3" fmla="*/ 2245118 h 2245118"/>
                <a:gd name="connsiteX4" fmla="*/ 0 w 6365348"/>
                <a:gd name="connsiteY4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2245118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401634"/>
                <a:gd name="connsiteY0" fmla="*/ 0 h 2245118"/>
                <a:gd name="connsiteX1" fmla="*/ 6365348 w 6401634"/>
                <a:gd name="connsiteY1" fmla="*/ 0 h 2245118"/>
                <a:gd name="connsiteX2" fmla="*/ 6401634 w 6401634"/>
                <a:gd name="connsiteY2" fmla="*/ 1475861 h 2245118"/>
                <a:gd name="connsiteX3" fmla="*/ 987805 w 6401634"/>
                <a:gd name="connsiteY3" fmla="*/ 1495198 h 2245118"/>
                <a:gd name="connsiteX4" fmla="*/ 0 w 6401634"/>
                <a:gd name="connsiteY4" fmla="*/ 2245118 h 2245118"/>
                <a:gd name="connsiteX5" fmla="*/ 0 w 6401634"/>
                <a:gd name="connsiteY5" fmla="*/ 0 h 2245118"/>
                <a:gd name="connsiteX0" fmla="*/ 0 w 6372605"/>
                <a:gd name="connsiteY0" fmla="*/ 0 h 2245118"/>
                <a:gd name="connsiteX1" fmla="*/ 6365348 w 6372605"/>
                <a:gd name="connsiteY1" fmla="*/ 0 h 2245118"/>
                <a:gd name="connsiteX2" fmla="*/ 6372605 w 6372605"/>
                <a:gd name="connsiteY2" fmla="*/ 1475861 h 2245118"/>
                <a:gd name="connsiteX3" fmla="*/ 987805 w 6372605"/>
                <a:gd name="connsiteY3" fmla="*/ 1495198 h 2245118"/>
                <a:gd name="connsiteX4" fmla="*/ 0 w 6372605"/>
                <a:gd name="connsiteY4" fmla="*/ 2245118 h 2245118"/>
                <a:gd name="connsiteX5" fmla="*/ 0 w 6372605"/>
                <a:gd name="connsiteY5" fmla="*/ 0 h 2245118"/>
                <a:gd name="connsiteX0" fmla="*/ 0 w 6372605"/>
                <a:gd name="connsiteY0" fmla="*/ 0 h 2245118"/>
                <a:gd name="connsiteX1" fmla="*/ 6365348 w 6372605"/>
                <a:gd name="connsiteY1" fmla="*/ 0 h 2245118"/>
                <a:gd name="connsiteX2" fmla="*/ 6372605 w 6372605"/>
                <a:gd name="connsiteY2" fmla="*/ 1439575 h 2245118"/>
                <a:gd name="connsiteX3" fmla="*/ 987805 w 6372605"/>
                <a:gd name="connsiteY3" fmla="*/ 1495198 h 2245118"/>
                <a:gd name="connsiteX4" fmla="*/ 0 w 6372605"/>
                <a:gd name="connsiteY4" fmla="*/ 2245118 h 2245118"/>
                <a:gd name="connsiteX5" fmla="*/ 0 w 6372605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1461347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1417804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607064 h 2245118"/>
                <a:gd name="connsiteX3" fmla="*/ 987805 w 6368941"/>
                <a:gd name="connsiteY3" fmla="*/ 1495198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987805 w 6368941"/>
                <a:gd name="connsiteY3" fmla="*/ 1495198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132660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132660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073813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073813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5408"/>
                <a:gd name="connsiteY0" fmla="*/ 0 h 2245118"/>
                <a:gd name="connsiteX1" fmla="*/ 6365348 w 6365408"/>
                <a:gd name="connsiteY1" fmla="*/ 0 h 2245118"/>
                <a:gd name="connsiteX2" fmla="*/ 6350835 w 6365408"/>
                <a:gd name="connsiteY2" fmla="*/ 1489369 h 2245118"/>
                <a:gd name="connsiteX3" fmla="*/ 1073813 w 6365408"/>
                <a:gd name="connsiteY3" fmla="*/ 1490671 h 2245118"/>
                <a:gd name="connsiteX4" fmla="*/ 0 w 6365408"/>
                <a:gd name="connsiteY4" fmla="*/ 2245118 h 2245118"/>
                <a:gd name="connsiteX5" fmla="*/ 0 w 6365408"/>
                <a:gd name="connsiteY5" fmla="*/ 0 h 2245118"/>
                <a:gd name="connsiteX0" fmla="*/ 0 w 6365612"/>
                <a:gd name="connsiteY0" fmla="*/ 0 h 2245118"/>
                <a:gd name="connsiteX1" fmla="*/ 6365348 w 6365612"/>
                <a:gd name="connsiteY1" fmla="*/ 0 h 2245118"/>
                <a:gd name="connsiteX2" fmla="*/ 6364415 w 6365612"/>
                <a:gd name="connsiteY2" fmla="*/ 1489369 h 2245118"/>
                <a:gd name="connsiteX3" fmla="*/ 1073813 w 6365612"/>
                <a:gd name="connsiteY3" fmla="*/ 1490671 h 2245118"/>
                <a:gd name="connsiteX4" fmla="*/ 0 w 6365612"/>
                <a:gd name="connsiteY4" fmla="*/ 2245118 h 2245118"/>
                <a:gd name="connsiteX5" fmla="*/ 0 w 6365612"/>
                <a:gd name="connsiteY5" fmla="*/ 0 h 2245118"/>
                <a:gd name="connsiteX0" fmla="*/ 0 w 6364415"/>
                <a:gd name="connsiteY0" fmla="*/ 0 h 2245118"/>
                <a:gd name="connsiteX1" fmla="*/ 6360821 w 6364415"/>
                <a:gd name="connsiteY1" fmla="*/ 0 h 2245118"/>
                <a:gd name="connsiteX2" fmla="*/ 6364415 w 6364415"/>
                <a:gd name="connsiteY2" fmla="*/ 1489369 h 2245118"/>
                <a:gd name="connsiteX3" fmla="*/ 1073813 w 6364415"/>
                <a:gd name="connsiteY3" fmla="*/ 1490671 h 2245118"/>
                <a:gd name="connsiteX4" fmla="*/ 0 w 6364415"/>
                <a:gd name="connsiteY4" fmla="*/ 2245118 h 2245118"/>
                <a:gd name="connsiteX5" fmla="*/ 0 w 6364415"/>
                <a:gd name="connsiteY5" fmla="*/ 0 h 224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64415" h="2245118">
                  <a:moveTo>
                    <a:pt x="0" y="0"/>
                  </a:moveTo>
                  <a:lnTo>
                    <a:pt x="6360821" y="0"/>
                  </a:lnTo>
                  <a:cubicBezTo>
                    <a:pt x="6362019" y="535688"/>
                    <a:pt x="6363217" y="953681"/>
                    <a:pt x="6364415" y="1489369"/>
                  </a:cubicBezTo>
                  <a:lnTo>
                    <a:pt x="1073813" y="1490671"/>
                  </a:lnTo>
                  <a:cubicBezTo>
                    <a:pt x="623616" y="1518404"/>
                    <a:pt x="82525" y="1717721"/>
                    <a:pt x="0" y="22451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Espace réservé du pied de page 4"/>
            <p:cNvSpPr txBox="1">
              <a:spLocks/>
            </p:cNvSpPr>
            <p:nvPr/>
          </p:nvSpPr>
          <p:spPr>
            <a:xfrm>
              <a:off x="261046" y="5783038"/>
              <a:ext cx="8643915" cy="979715"/>
            </a:xfrm>
            <a:prstGeom prst="rect">
              <a:avLst/>
            </a:prstGeom>
          </p:spPr>
          <p:txBody>
            <a:bodyPr lIns="69769" tIns="34885" rIns="69769" bIns="34885" anchor="ctr"/>
            <a:lstStyle>
              <a:lvl1pPr algn="ctr">
                <a:lnSpc>
                  <a:spcPct val="150000"/>
                </a:lnSpc>
                <a:defRPr sz="800">
                  <a:solidFill>
                    <a:schemeClr val="tx1">
                      <a:tint val="75000"/>
                    </a:schemeClr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pPr defTabSz="75344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b="1" dirty="0">
                  <a:latin typeface="Arial" pitchFamily="34" charset="0"/>
                  <a:cs typeface="Arial" pitchFamily="34" charset="0"/>
                </a:rPr>
                <a:t>GRAS SAVOYE, société de courtage d’assurance et de réassurance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Siège Social : Immeuble Quai 33. 33/34 quai de Dion Bouton. CS 70001. 92 814 Puteaux Cedex. Tél : 01 41 43 50 00. Télécopie : 01 41 43 55 </a:t>
              </a:r>
              <a:r>
                <a:rPr lang="fr-FR" sz="700" dirty="0" err="1">
                  <a:latin typeface="Arial" pitchFamily="34" charset="0"/>
                  <a:cs typeface="Arial" pitchFamily="34" charset="0"/>
                </a:rPr>
                <a:t>55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. http://www.grassavoye.com.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Société par actions simplifiée au capital de 1 432 600 euros. 311 248 637 RCS Nanterre. N° FR 61311248637.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Intermédiaire immatriculé à l'ORIAS sous le n° 07 001 707 (http://www.orias.fr).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Gras Savoye est soumis au contrôle de l'ACPR (Autorité de Contrôle Prudentiel et</a:t>
              </a:r>
              <a:r>
                <a:rPr lang="fr-FR" sz="700" baseline="0" dirty="0">
                  <a:latin typeface="Arial" pitchFamily="34" charset="0"/>
                  <a:cs typeface="Arial" pitchFamily="34" charset="0"/>
                </a:rPr>
                <a:t> de Résolution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). 61 rue </a:t>
              </a:r>
              <a:r>
                <a:rPr lang="fr-FR" sz="700" dirty="0" err="1">
                  <a:latin typeface="Arial" pitchFamily="34" charset="0"/>
                  <a:cs typeface="Arial" pitchFamily="34" charset="0"/>
                </a:rPr>
                <a:t>Taitbout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. 75436 Paris Cedex 9</a:t>
              </a:r>
            </a:p>
            <a:p>
              <a:pPr defTabSz="75344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Crédits photos :  © Eric </a:t>
              </a:r>
              <a:r>
                <a:rPr lang="fr-FR" sz="700" dirty="0" err="1">
                  <a:latin typeface="Arial" pitchFamily="34" charset="0"/>
                  <a:cs typeface="Arial" pitchFamily="34" charset="0"/>
                </a:rPr>
                <a:t>Dudan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, © Anthony Hall-Fotolia.com</a:t>
              </a:r>
            </a:p>
          </p:txBody>
        </p:sp>
        <p:sp>
          <p:nvSpPr>
            <p:cNvPr id="20" name="Rectangle 7"/>
            <p:cNvSpPr/>
            <p:nvPr userDrawn="1"/>
          </p:nvSpPr>
          <p:spPr>
            <a:xfrm flipH="1">
              <a:off x="6444208" y="2264001"/>
              <a:ext cx="1948184" cy="2707257"/>
            </a:xfrm>
            <a:custGeom>
              <a:avLst/>
              <a:gdLst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2292349 h 2292349"/>
                <a:gd name="connsiteX3" fmla="*/ 0 w 1476375"/>
                <a:gd name="connsiteY3" fmla="*/ 2292349 h 2292349"/>
                <a:gd name="connsiteX4" fmla="*/ 0 w 1476375"/>
                <a:gd name="connsiteY4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292225 w 1476375"/>
                <a:gd name="connsiteY2" fmla="*/ 2025649 h 2292349"/>
                <a:gd name="connsiteX3" fmla="*/ 0 w 1476375"/>
                <a:gd name="connsiteY3" fmla="*/ 2292349 h 2292349"/>
                <a:gd name="connsiteX4" fmla="*/ 0 w 1476375"/>
                <a:gd name="connsiteY4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1781174 h 2292349"/>
                <a:gd name="connsiteX3" fmla="*/ 0 w 1476375"/>
                <a:gd name="connsiteY3" fmla="*/ 2292349 h 2292349"/>
                <a:gd name="connsiteX4" fmla="*/ 0 w 1476375"/>
                <a:gd name="connsiteY4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1781174 h 2292349"/>
                <a:gd name="connsiteX3" fmla="*/ 847725 w 1476375"/>
                <a:gd name="connsiteY3" fmla="*/ 1993900 h 2292349"/>
                <a:gd name="connsiteX4" fmla="*/ 0 w 1476375"/>
                <a:gd name="connsiteY4" fmla="*/ 2292349 h 2292349"/>
                <a:gd name="connsiteX5" fmla="*/ 0 w 1476375"/>
                <a:gd name="connsiteY5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1781174 h 2292349"/>
                <a:gd name="connsiteX3" fmla="*/ 1003300 w 1476375"/>
                <a:gd name="connsiteY3" fmla="*/ 2279650 h 2292349"/>
                <a:gd name="connsiteX4" fmla="*/ 0 w 1476375"/>
                <a:gd name="connsiteY4" fmla="*/ 2292349 h 2292349"/>
                <a:gd name="connsiteX5" fmla="*/ 0 w 1476375"/>
                <a:gd name="connsiteY5" fmla="*/ 0 h 2292349"/>
                <a:gd name="connsiteX0" fmla="*/ 0 w 1476375"/>
                <a:gd name="connsiteY0" fmla="*/ 0 h 2292350"/>
                <a:gd name="connsiteX1" fmla="*/ 1476375 w 1476375"/>
                <a:gd name="connsiteY1" fmla="*/ 0 h 2292350"/>
                <a:gd name="connsiteX2" fmla="*/ 1476375 w 1476375"/>
                <a:gd name="connsiteY2" fmla="*/ 1781174 h 2292350"/>
                <a:gd name="connsiteX3" fmla="*/ 1003300 w 1476375"/>
                <a:gd name="connsiteY3" fmla="*/ 2292350 h 2292350"/>
                <a:gd name="connsiteX4" fmla="*/ 0 w 1476375"/>
                <a:gd name="connsiteY4" fmla="*/ 2292349 h 2292350"/>
                <a:gd name="connsiteX5" fmla="*/ 0 w 1476375"/>
                <a:gd name="connsiteY5" fmla="*/ 0 h 2292350"/>
                <a:gd name="connsiteX0" fmla="*/ 0 w 1476375"/>
                <a:gd name="connsiteY0" fmla="*/ 0 h 2292350"/>
                <a:gd name="connsiteX1" fmla="*/ 1476375 w 1476375"/>
                <a:gd name="connsiteY1" fmla="*/ 0 h 2292350"/>
                <a:gd name="connsiteX2" fmla="*/ 1476375 w 1476375"/>
                <a:gd name="connsiteY2" fmla="*/ 1781174 h 2292350"/>
                <a:gd name="connsiteX3" fmla="*/ 1003300 w 1476375"/>
                <a:gd name="connsiteY3" fmla="*/ 2292350 h 2292350"/>
                <a:gd name="connsiteX4" fmla="*/ 0 w 1476375"/>
                <a:gd name="connsiteY4" fmla="*/ 2292349 h 2292350"/>
                <a:gd name="connsiteX5" fmla="*/ 0 w 1476375"/>
                <a:gd name="connsiteY5" fmla="*/ 0 h 2292350"/>
                <a:gd name="connsiteX0" fmla="*/ 0 w 1476375"/>
                <a:gd name="connsiteY0" fmla="*/ 0 h 2292350"/>
                <a:gd name="connsiteX1" fmla="*/ 1476375 w 1476375"/>
                <a:gd name="connsiteY1" fmla="*/ 0 h 2292350"/>
                <a:gd name="connsiteX2" fmla="*/ 1476375 w 1476375"/>
                <a:gd name="connsiteY2" fmla="*/ 1781174 h 2292350"/>
                <a:gd name="connsiteX3" fmla="*/ 1003300 w 1476375"/>
                <a:gd name="connsiteY3" fmla="*/ 2292350 h 2292350"/>
                <a:gd name="connsiteX4" fmla="*/ 0 w 1476375"/>
                <a:gd name="connsiteY4" fmla="*/ 2292349 h 2292350"/>
                <a:gd name="connsiteX5" fmla="*/ 0 w 1476375"/>
                <a:gd name="connsiteY5" fmla="*/ 0 h 2292350"/>
                <a:gd name="connsiteX0" fmla="*/ 0 w 1476375"/>
                <a:gd name="connsiteY0" fmla="*/ 0 h 2292354"/>
                <a:gd name="connsiteX1" fmla="*/ 1476375 w 1476375"/>
                <a:gd name="connsiteY1" fmla="*/ 0 h 2292354"/>
                <a:gd name="connsiteX2" fmla="*/ 1476375 w 1476375"/>
                <a:gd name="connsiteY2" fmla="*/ 1781174 h 2292354"/>
                <a:gd name="connsiteX3" fmla="*/ 1003300 w 1476375"/>
                <a:gd name="connsiteY3" fmla="*/ 2292350 h 2292354"/>
                <a:gd name="connsiteX4" fmla="*/ 0 w 1476375"/>
                <a:gd name="connsiteY4" fmla="*/ 2292349 h 2292354"/>
                <a:gd name="connsiteX5" fmla="*/ 0 w 1476375"/>
                <a:gd name="connsiteY5" fmla="*/ 0 h 2292354"/>
                <a:gd name="connsiteX0" fmla="*/ 36713 w 1513088"/>
                <a:gd name="connsiteY0" fmla="*/ 0 h 2292354"/>
                <a:gd name="connsiteX1" fmla="*/ 1513088 w 1513088"/>
                <a:gd name="connsiteY1" fmla="*/ 0 h 2292354"/>
                <a:gd name="connsiteX2" fmla="*/ 1513088 w 1513088"/>
                <a:gd name="connsiteY2" fmla="*/ 1781174 h 2292354"/>
                <a:gd name="connsiteX3" fmla="*/ 1040013 w 1513088"/>
                <a:gd name="connsiteY3" fmla="*/ 2292350 h 2292354"/>
                <a:gd name="connsiteX4" fmla="*/ 0 w 1513088"/>
                <a:gd name="connsiteY4" fmla="*/ 2292349 h 2292354"/>
                <a:gd name="connsiteX5" fmla="*/ 36713 w 1513088"/>
                <a:gd name="connsiteY5" fmla="*/ 0 h 2292354"/>
                <a:gd name="connsiteX0" fmla="*/ 75538 w 1551913"/>
                <a:gd name="connsiteY0" fmla="*/ 0 h 2292354"/>
                <a:gd name="connsiteX1" fmla="*/ 1551913 w 1551913"/>
                <a:gd name="connsiteY1" fmla="*/ 0 h 2292354"/>
                <a:gd name="connsiteX2" fmla="*/ 1551913 w 1551913"/>
                <a:gd name="connsiteY2" fmla="*/ 1781174 h 2292354"/>
                <a:gd name="connsiteX3" fmla="*/ 1078838 w 1551913"/>
                <a:gd name="connsiteY3" fmla="*/ 2292350 h 2292354"/>
                <a:gd name="connsiteX4" fmla="*/ 38825 w 1551913"/>
                <a:gd name="connsiteY4" fmla="*/ 2292349 h 2292354"/>
                <a:gd name="connsiteX5" fmla="*/ 75538 w 1551913"/>
                <a:gd name="connsiteY5" fmla="*/ 0 h 2292354"/>
                <a:gd name="connsiteX0" fmla="*/ 96471 w 1572846"/>
                <a:gd name="connsiteY0" fmla="*/ 0 h 2292354"/>
                <a:gd name="connsiteX1" fmla="*/ 1572846 w 1572846"/>
                <a:gd name="connsiteY1" fmla="*/ 0 h 2292354"/>
                <a:gd name="connsiteX2" fmla="*/ 1572846 w 1572846"/>
                <a:gd name="connsiteY2" fmla="*/ 1781174 h 2292354"/>
                <a:gd name="connsiteX3" fmla="*/ 1099771 w 1572846"/>
                <a:gd name="connsiteY3" fmla="*/ 2292350 h 2292354"/>
                <a:gd name="connsiteX4" fmla="*/ 59758 w 1572846"/>
                <a:gd name="connsiteY4" fmla="*/ 2292349 h 2292354"/>
                <a:gd name="connsiteX5" fmla="*/ 96471 w 1572846"/>
                <a:gd name="connsiteY5" fmla="*/ 0 h 2292354"/>
                <a:gd name="connsiteX0" fmla="*/ 96471 w 1573815"/>
                <a:gd name="connsiteY0" fmla="*/ 0 h 2292354"/>
                <a:gd name="connsiteX1" fmla="*/ 1572846 w 1573815"/>
                <a:gd name="connsiteY1" fmla="*/ 0 h 2292354"/>
                <a:gd name="connsiteX2" fmla="*/ 1572846 w 1573815"/>
                <a:gd name="connsiteY2" fmla="*/ 1781174 h 2292354"/>
                <a:gd name="connsiteX3" fmla="*/ 1099771 w 1573815"/>
                <a:gd name="connsiteY3" fmla="*/ 2292350 h 2292354"/>
                <a:gd name="connsiteX4" fmla="*/ 59758 w 1573815"/>
                <a:gd name="connsiteY4" fmla="*/ 2292349 h 2292354"/>
                <a:gd name="connsiteX5" fmla="*/ 96471 w 1573815"/>
                <a:gd name="connsiteY5" fmla="*/ 0 h 2292354"/>
                <a:gd name="connsiteX0" fmla="*/ 96471 w 1572846"/>
                <a:gd name="connsiteY0" fmla="*/ 0 h 2292354"/>
                <a:gd name="connsiteX1" fmla="*/ 1572846 w 1572846"/>
                <a:gd name="connsiteY1" fmla="*/ 0 h 2292354"/>
                <a:gd name="connsiteX2" fmla="*/ 1572846 w 1572846"/>
                <a:gd name="connsiteY2" fmla="*/ 1781174 h 2292354"/>
                <a:gd name="connsiteX3" fmla="*/ 1099771 w 1572846"/>
                <a:gd name="connsiteY3" fmla="*/ 2292350 h 2292354"/>
                <a:gd name="connsiteX4" fmla="*/ 59758 w 1572846"/>
                <a:gd name="connsiteY4" fmla="*/ 2292349 h 2292354"/>
                <a:gd name="connsiteX5" fmla="*/ 96471 w 1572846"/>
                <a:gd name="connsiteY5" fmla="*/ 0 h 2292354"/>
                <a:gd name="connsiteX0" fmla="*/ 96471 w 1573506"/>
                <a:gd name="connsiteY0" fmla="*/ 0 h 2292358"/>
                <a:gd name="connsiteX1" fmla="*/ 1572846 w 1573506"/>
                <a:gd name="connsiteY1" fmla="*/ 0 h 2292358"/>
                <a:gd name="connsiteX2" fmla="*/ 1572846 w 1573506"/>
                <a:gd name="connsiteY2" fmla="*/ 1781174 h 2292358"/>
                <a:gd name="connsiteX3" fmla="*/ 1099771 w 1573506"/>
                <a:gd name="connsiteY3" fmla="*/ 2292350 h 2292358"/>
                <a:gd name="connsiteX4" fmla="*/ 59758 w 1573506"/>
                <a:gd name="connsiteY4" fmla="*/ 2292349 h 2292358"/>
                <a:gd name="connsiteX5" fmla="*/ 96471 w 1573506"/>
                <a:gd name="connsiteY5" fmla="*/ 0 h 2292358"/>
                <a:gd name="connsiteX0" fmla="*/ 65137 w 1602111"/>
                <a:gd name="connsiteY0" fmla="*/ 0 h 2298519"/>
                <a:gd name="connsiteX1" fmla="*/ 1601451 w 1602111"/>
                <a:gd name="connsiteY1" fmla="*/ 6161 h 2298519"/>
                <a:gd name="connsiteX2" fmla="*/ 1601451 w 1602111"/>
                <a:gd name="connsiteY2" fmla="*/ 1787335 h 2298519"/>
                <a:gd name="connsiteX3" fmla="*/ 1128376 w 1602111"/>
                <a:gd name="connsiteY3" fmla="*/ 2298511 h 2298519"/>
                <a:gd name="connsiteX4" fmla="*/ 88363 w 1602111"/>
                <a:gd name="connsiteY4" fmla="*/ 2298510 h 2298519"/>
                <a:gd name="connsiteX5" fmla="*/ 65137 w 1602111"/>
                <a:gd name="connsiteY5" fmla="*/ 0 h 2298519"/>
                <a:gd name="connsiteX0" fmla="*/ 56187 w 1593161"/>
                <a:gd name="connsiteY0" fmla="*/ 0 h 2298519"/>
                <a:gd name="connsiteX1" fmla="*/ 1592501 w 1593161"/>
                <a:gd name="connsiteY1" fmla="*/ 6161 h 2298519"/>
                <a:gd name="connsiteX2" fmla="*/ 1592501 w 1593161"/>
                <a:gd name="connsiteY2" fmla="*/ 1787335 h 2298519"/>
                <a:gd name="connsiteX3" fmla="*/ 1119426 w 1593161"/>
                <a:gd name="connsiteY3" fmla="*/ 2298511 h 2298519"/>
                <a:gd name="connsiteX4" fmla="*/ 103389 w 1593161"/>
                <a:gd name="connsiteY4" fmla="*/ 2298510 h 2298519"/>
                <a:gd name="connsiteX5" fmla="*/ 56187 w 1593161"/>
                <a:gd name="connsiteY5" fmla="*/ 0 h 2298519"/>
                <a:gd name="connsiteX0" fmla="*/ 68950 w 1605924"/>
                <a:gd name="connsiteY0" fmla="*/ 0 h 2298519"/>
                <a:gd name="connsiteX1" fmla="*/ 1605264 w 1605924"/>
                <a:gd name="connsiteY1" fmla="*/ 6161 h 2298519"/>
                <a:gd name="connsiteX2" fmla="*/ 1605264 w 1605924"/>
                <a:gd name="connsiteY2" fmla="*/ 1787335 h 2298519"/>
                <a:gd name="connsiteX3" fmla="*/ 1132189 w 1605924"/>
                <a:gd name="connsiteY3" fmla="*/ 2298511 h 2298519"/>
                <a:gd name="connsiteX4" fmla="*/ 116152 w 1605924"/>
                <a:gd name="connsiteY4" fmla="*/ 2298510 h 2298519"/>
                <a:gd name="connsiteX5" fmla="*/ 68950 w 1605924"/>
                <a:gd name="connsiteY5" fmla="*/ 0 h 2298519"/>
                <a:gd name="connsiteX0" fmla="*/ 75046 w 1612020"/>
                <a:gd name="connsiteY0" fmla="*/ 0 h 2298519"/>
                <a:gd name="connsiteX1" fmla="*/ 1611360 w 1612020"/>
                <a:gd name="connsiteY1" fmla="*/ 6161 h 2298519"/>
                <a:gd name="connsiteX2" fmla="*/ 1611360 w 1612020"/>
                <a:gd name="connsiteY2" fmla="*/ 1787335 h 2298519"/>
                <a:gd name="connsiteX3" fmla="*/ 1138285 w 1612020"/>
                <a:gd name="connsiteY3" fmla="*/ 2298511 h 2298519"/>
                <a:gd name="connsiteX4" fmla="*/ 122248 w 1612020"/>
                <a:gd name="connsiteY4" fmla="*/ 2298510 h 2298519"/>
                <a:gd name="connsiteX5" fmla="*/ 75046 w 1612020"/>
                <a:gd name="connsiteY5" fmla="*/ 0 h 2298519"/>
                <a:gd name="connsiteX0" fmla="*/ 80636 w 1617610"/>
                <a:gd name="connsiteY0" fmla="*/ 0 h 2298519"/>
                <a:gd name="connsiteX1" fmla="*/ 1616950 w 1617610"/>
                <a:gd name="connsiteY1" fmla="*/ 6161 h 2298519"/>
                <a:gd name="connsiteX2" fmla="*/ 1616950 w 1617610"/>
                <a:gd name="connsiteY2" fmla="*/ 1787335 h 2298519"/>
                <a:gd name="connsiteX3" fmla="*/ 1143875 w 1617610"/>
                <a:gd name="connsiteY3" fmla="*/ 2298511 h 2298519"/>
                <a:gd name="connsiteX4" fmla="*/ 115850 w 1617610"/>
                <a:gd name="connsiteY4" fmla="*/ 2298510 h 2298519"/>
                <a:gd name="connsiteX5" fmla="*/ 80636 w 1617610"/>
                <a:gd name="connsiteY5" fmla="*/ 0 h 2298519"/>
                <a:gd name="connsiteX0" fmla="*/ 72094 w 1609068"/>
                <a:gd name="connsiteY0" fmla="*/ 0 h 2298519"/>
                <a:gd name="connsiteX1" fmla="*/ 1608408 w 1609068"/>
                <a:gd name="connsiteY1" fmla="*/ 6161 h 2298519"/>
                <a:gd name="connsiteX2" fmla="*/ 1608408 w 1609068"/>
                <a:gd name="connsiteY2" fmla="*/ 1787335 h 2298519"/>
                <a:gd name="connsiteX3" fmla="*/ 1135333 w 1609068"/>
                <a:gd name="connsiteY3" fmla="*/ 2298511 h 2298519"/>
                <a:gd name="connsiteX4" fmla="*/ 107308 w 1609068"/>
                <a:gd name="connsiteY4" fmla="*/ 2298510 h 2298519"/>
                <a:gd name="connsiteX5" fmla="*/ 72094 w 1609068"/>
                <a:gd name="connsiteY5" fmla="*/ 0 h 229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068" h="2298519">
                  <a:moveTo>
                    <a:pt x="72094" y="0"/>
                  </a:moveTo>
                  <a:lnTo>
                    <a:pt x="1608408" y="6161"/>
                  </a:lnTo>
                  <a:lnTo>
                    <a:pt x="1608408" y="1787335"/>
                  </a:lnTo>
                  <a:cubicBezTo>
                    <a:pt x="1608913" y="2097965"/>
                    <a:pt x="1643510" y="2300010"/>
                    <a:pt x="1135333" y="2298511"/>
                  </a:cubicBezTo>
                  <a:lnTo>
                    <a:pt x="107308" y="2298510"/>
                  </a:lnTo>
                  <a:cubicBezTo>
                    <a:pt x="-29178" y="1360927"/>
                    <a:pt x="-29303" y="796478"/>
                    <a:pt x="72094" y="0"/>
                  </a:cubicBezTo>
                  <a:close/>
                </a:path>
              </a:pathLst>
            </a:custGeom>
            <a:blipFill dpi="0" rotWithShape="0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fr-FR" dirty="0">
                  <a:ln w="12700" cmpd="sng">
                    <a:solidFill>
                      <a:schemeClr val="tx1"/>
                    </a:solidFill>
                  </a:ln>
                </a:rPr>
                <a:t> </a:t>
              </a:r>
            </a:p>
          </p:txBody>
        </p:sp>
      </p:grpSp>
      <p:sp>
        <p:nvSpPr>
          <p:cNvPr id="3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259139" y="2780928"/>
            <a:ext cx="5969392" cy="287585"/>
          </a:xfrm>
        </p:spPr>
        <p:txBody>
          <a:bodyPr>
            <a:noAutofit/>
          </a:bodyPr>
          <a:lstStyle>
            <a:lvl1pPr marL="0" indent="0" algn="l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02958" indent="0">
              <a:buNone/>
              <a:defRPr sz="1600"/>
            </a:lvl2pPr>
            <a:lvl3pPr marL="274959" indent="0">
              <a:buNone/>
              <a:defRPr sz="1600"/>
            </a:lvl3pPr>
            <a:lvl4pPr marL="446961" indent="0">
              <a:buNone/>
              <a:defRPr sz="1600"/>
            </a:lvl4pPr>
            <a:lvl5pPr marL="614116" indent="0">
              <a:buNone/>
              <a:defRPr sz="1600"/>
            </a:lvl5pPr>
          </a:lstStyle>
          <a:p>
            <a:pPr lvl="0"/>
            <a:r>
              <a:rPr lang="fr-FR" dirty="0"/>
              <a:t>Votre contact :</a:t>
            </a:r>
          </a:p>
        </p:txBody>
      </p:sp>
      <p:sp>
        <p:nvSpPr>
          <p:cNvPr id="8" name="Espace réservé du texte 2"/>
          <p:cNvSpPr>
            <a:spLocks noGrp="1"/>
          </p:cNvSpPr>
          <p:nvPr>
            <p:ph type="body" sz="quarter" idx="11" hasCustomPrompt="1"/>
          </p:nvPr>
        </p:nvSpPr>
        <p:spPr>
          <a:xfrm>
            <a:off x="258792" y="3068513"/>
            <a:ext cx="5969392" cy="260746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02958" indent="0">
              <a:buNone/>
              <a:defRPr sz="1600"/>
            </a:lvl2pPr>
            <a:lvl3pPr marL="274959" indent="0">
              <a:buNone/>
              <a:defRPr sz="1600"/>
            </a:lvl3pPr>
            <a:lvl4pPr marL="446961" indent="0">
              <a:buNone/>
              <a:defRPr sz="1600"/>
            </a:lvl4pPr>
            <a:lvl5pPr marL="614116" indent="0">
              <a:buNone/>
              <a:defRPr sz="1600"/>
            </a:lvl5pPr>
          </a:lstStyle>
          <a:p>
            <a:pPr lvl="0"/>
            <a:r>
              <a:rPr lang="fr-FR" dirty="0"/>
              <a:t>Prénom NOM | + 33 (1) 41 43 xx </a:t>
            </a:r>
            <a:r>
              <a:rPr lang="fr-FR" dirty="0" err="1"/>
              <a:t>xx</a:t>
            </a:r>
            <a:r>
              <a:rPr lang="fr-FR" dirty="0"/>
              <a:t> | prenom.nom@grassavoye.com</a:t>
            </a:r>
          </a:p>
        </p:txBody>
      </p:sp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175" y="5157788"/>
            <a:ext cx="1011238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38617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4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cxnSp>
        <p:nvCxnSpPr>
          <p:cNvPr id="7" name="Straight Connector 14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4495800" cy="304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Remerci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007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e blanch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308725"/>
            <a:ext cx="468313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n w="12700" cmpd="sng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3548830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ople Map sans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Rectangle 27"/>
          <p:cNvSpPr>
            <a:spLocks noChangeArrowheads="1"/>
          </p:cNvSpPr>
          <p:nvPr/>
        </p:nvSpPr>
        <p:spPr bwMode="auto">
          <a:xfrm>
            <a:off x="3051109" y="1304925"/>
            <a:ext cx="5703954" cy="1736725"/>
          </a:xfrm>
          <a:prstGeom prst="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18000">
                <a:schemeClr val="accent6">
                  <a:lumMod val="20000"/>
                  <a:lumOff val="80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5" name="Picture 26" descr="UK"/>
          <p:cNvPicPr>
            <a:picLocks noChangeAspect="1" noChangeArrowheads="1"/>
          </p:cNvPicPr>
          <p:nvPr/>
        </p:nvPicPr>
        <p:blipFill>
          <a:blip r:embed="rId2" cstate="print">
            <a:lum bright="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03225" y="1304925"/>
            <a:ext cx="2668588" cy="1739900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90000">
                <a:schemeClr val="accent6">
                  <a:lumMod val="40000"/>
                  <a:lumOff val="60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</p:pic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515938" y="1665288"/>
            <a:ext cx="1939925" cy="1101725"/>
            <a:chOff x="957263" y="1906588"/>
            <a:chExt cx="1830387" cy="1039812"/>
          </a:xfrm>
        </p:grpSpPr>
        <p:pic>
          <p:nvPicPr>
            <p:cNvPr id="8" name="Picture 8" descr="darkgray.ai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7263" y="1912938"/>
              <a:ext cx="1033462" cy="1033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darkgray.ai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54138" y="1906588"/>
              <a:ext cx="1033462" cy="1033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8" descr="darkgray.ai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54188" y="1909763"/>
              <a:ext cx="1033462" cy="1033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7" descr="bpwhite.ai"/>
          <p:cNvPicPr>
            <a:picLocks noChangeAspect="1" noChangeArrowheads="1"/>
          </p:cNvPicPr>
          <p:nvPr/>
        </p:nvPicPr>
        <p:blipFill>
          <a:blip r:embed="rId5" cstate="print"/>
          <a:srcRect b="57561"/>
          <a:stretch>
            <a:fillRect/>
          </a:stretch>
        </p:blipFill>
        <p:spPr bwMode="auto">
          <a:xfrm>
            <a:off x="1955800" y="1255713"/>
            <a:ext cx="2139950" cy="17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3851920" y="1374775"/>
            <a:ext cx="4752528" cy="1600200"/>
          </a:xfrm>
        </p:spPr>
        <p:txBody>
          <a:bodyPr anchor="ctr"/>
          <a:lstStyle>
            <a:lvl1pPr>
              <a:defRPr sz="1700" b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7200" y="3212976"/>
            <a:ext cx="8229600" cy="2883024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itchFamily="2" charset="2"/>
              <a:buChar char="§"/>
              <a:defRPr sz="2000" b="0"/>
            </a:lvl1pPr>
            <a:lvl3pPr marL="233363" indent="-233363">
              <a:buFont typeface="+mj-lt"/>
              <a:buAutoNum type="arabicPeriod"/>
              <a:defRPr/>
            </a:lvl3pPr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62567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chiffres clés avec expl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Line 42"/>
          <p:cNvSpPr>
            <a:spLocks noChangeShapeType="1"/>
          </p:cNvSpPr>
          <p:nvPr/>
        </p:nvSpPr>
        <p:spPr bwMode="auto">
          <a:xfrm>
            <a:off x="1258888" y="3747293"/>
            <a:ext cx="7315200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0" name="Line 44"/>
          <p:cNvSpPr>
            <a:spLocks noChangeShapeType="1"/>
          </p:cNvSpPr>
          <p:nvPr/>
        </p:nvSpPr>
        <p:spPr bwMode="auto">
          <a:xfrm>
            <a:off x="2936875" y="1758156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Line 45"/>
          <p:cNvSpPr>
            <a:spLocks noChangeShapeType="1"/>
          </p:cNvSpPr>
          <p:nvPr/>
        </p:nvSpPr>
        <p:spPr bwMode="auto">
          <a:xfrm>
            <a:off x="4799013" y="1758156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Line 46"/>
          <p:cNvSpPr>
            <a:spLocks noChangeShapeType="1"/>
          </p:cNvSpPr>
          <p:nvPr/>
        </p:nvSpPr>
        <p:spPr bwMode="auto">
          <a:xfrm>
            <a:off x="6662738" y="1758156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Line 47"/>
          <p:cNvSpPr>
            <a:spLocks noChangeShapeType="1"/>
          </p:cNvSpPr>
          <p:nvPr/>
        </p:nvSpPr>
        <p:spPr bwMode="auto">
          <a:xfrm>
            <a:off x="2936875" y="4034631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Line 48"/>
          <p:cNvSpPr>
            <a:spLocks noChangeShapeType="1"/>
          </p:cNvSpPr>
          <p:nvPr/>
        </p:nvSpPr>
        <p:spPr bwMode="auto">
          <a:xfrm>
            <a:off x="4799013" y="4034631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Line 49"/>
          <p:cNvSpPr>
            <a:spLocks noChangeShapeType="1"/>
          </p:cNvSpPr>
          <p:nvPr/>
        </p:nvSpPr>
        <p:spPr bwMode="auto">
          <a:xfrm>
            <a:off x="6662738" y="4034631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0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4836659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1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6110883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2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1089737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3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2363961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4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2942771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5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4216995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6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6736896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7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8011120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8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1112156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49" name="Espace réservé du texte 8"/>
          <p:cNvSpPr>
            <a:spLocks noGrp="1"/>
          </p:cNvSpPr>
          <p:nvPr>
            <p:ph type="body" sz="quarter" idx="23" hasCustomPrompt="1"/>
          </p:nvPr>
        </p:nvSpPr>
        <p:spPr>
          <a:xfrm>
            <a:off x="2948100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0" name="Espace réservé du texte 8"/>
          <p:cNvSpPr>
            <a:spLocks noGrp="1"/>
          </p:cNvSpPr>
          <p:nvPr>
            <p:ph type="body" sz="quarter" idx="24" hasCustomPrompt="1"/>
          </p:nvPr>
        </p:nvSpPr>
        <p:spPr>
          <a:xfrm>
            <a:off x="4856473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>
            <a:off x="6754931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2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4847205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3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6121429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4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>
            <a:off x="1100283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5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>
            <a:off x="2374507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30" hasCustomPrompt="1"/>
          </p:nvPr>
        </p:nvSpPr>
        <p:spPr>
          <a:xfrm>
            <a:off x="2953317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7" name="Espace réservé du texte 8"/>
          <p:cNvSpPr>
            <a:spLocks noGrp="1"/>
          </p:cNvSpPr>
          <p:nvPr>
            <p:ph type="body" sz="quarter" idx="31" hasCustomPrompt="1"/>
          </p:nvPr>
        </p:nvSpPr>
        <p:spPr>
          <a:xfrm>
            <a:off x="4227541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8" name="Espace réservé du texte 8"/>
          <p:cNvSpPr>
            <a:spLocks noGrp="1"/>
          </p:cNvSpPr>
          <p:nvPr>
            <p:ph type="body" sz="quarter" idx="32" hasCustomPrompt="1"/>
          </p:nvPr>
        </p:nvSpPr>
        <p:spPr>
          <a:xfrm>
            <a:off x="6747442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8021666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0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1122702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61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2958646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62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4867019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63" name="Espace réservé du texte 8"/>
          <p:cNvSpPr>
            <a:spLocks noGrp="1"/>
          </p:cNvSpPr>
          <p:nvPr>
            <p:ph type="body" sz="quarter" idx="37" hasCustomPrompt="1"/>
          </p:nvPr>
        </p:nvSpPr>
        <p:spPr>
          <a:xfrm>
            <a:off x="6765477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1007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hiffres clés avec expl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4596277" y="241421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1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0501" y="278986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2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849355" y="241421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3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2123579" y="278986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4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2702389" y="241421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5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3976613" y="278986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6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6444208" y="241413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7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7718432" y="278977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8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871774" y="3573104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49" name="Espace réservé du texte 8"/>
          <p:cNvSpPr>
            <a:spLocks noGrp="1"/>
          </p:cNvSpPr>
          <p:nvPr>
            <p:ph type="body" sz="quarter" idx="23" hasCustomPrompt="1"/>
          </p:nvPr>
        </p:nvSpPr>
        <p:spPr>
          <a:xfrm>
            <a:off x="2707718" y="3573104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0" name="Espace réservé du texte 8"/>
          <p:cNvSpPr>
            <a:spLocks noGrp="1"/>
          </p:cNvSpPr>
          <p:nvPr>
            <p:ph type="body" sz="quarter" idx="24" hasCustomPrompt="1"/>
          </p:nvPr>
        </p:nvSpPr>
        <p:spPr>
          <a:xfrm>
            <a:off x="4616091" y="3573104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>
            <a:off x="6462243" y="357301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35" name="Line 47"/>
          <p:cNvSpPr>
            <a:spLocks noChangeShapeType="1"/>
          </p:cNvSpPr>
          <p:nvPr/>
        </p:nvSpPr>
        <p:spPr bwMode="auto">
          <a:xfrm>
            <a:off x="2727325" y="2502218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Line 48"/>
          <p:cNvSpPr>
            <a:spLocks noChangeShapeType="1"/>
          </p:cNvSpPr>
          <p:nvPr/>
        </p:nvSpPr>
        <p:spPr bwMode="auto">
          <a:xfrm>
            <a:off x="4589463" y="2502218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" name="Line 49"/>
          <p:cNvSpPr>
            <a:spLocks noChangeShapeType="1"/>
          </p:cNvSpPr>
          <p:nvPr/>
        </p:nvSpPr>
        <p:spPr bwMode="auto">
          <a:xfrm>
            <a:off x="6453188" y="2502218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3608" y="4437112"/>
            <a:ext cx="1440160" cy="849312"/>
          </a:xfrm>
          <a:prstGeom prst="downArrow">
            <a:avLst>
              <a:gd name="adj1" fmla="val 62094"/>
              <a:gd name="adj2" fmla="val 67944"/>
            </a:avLst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65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6453188" y="1484784"/>
            <a:ext cx="1440160" cy="849312"/>
          </a:xfrm>
          <a:prstGeom prst="upArrow">
            <a:avLst>
              <a:gd name="adj1" fmla="val 61086"/>
              <a:gd name="adj2" fmla="val 67089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80954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hiffres en liste avec expl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>
            <a:off x="706436" y="2913712"/>
            <a:ext cx="671513" cy="151651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54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456969" y="3602495"/>
            <a:ext cx="1171037" cy="690601"/>
          </a:xfrm>
          <a:prstGeom prst="downArrow">
            <a:avLst>
              <a:gd name="adj1" fmla="val 62094"/>
              <a:gd name="adj2" fmla="val 67944"/>
            </a:avLst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Line 42"/>
          <p:cNvSpPr>
            <a:spLocks noChangeShapeType="1"/>
          </p:cNvSpPr>
          <p:nvPr/>
        </p:nvSpPr>
        <p:spPr bwMode="auto">
          <a:xfrm>
            <a:off x="456972" y="2492896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1" name="Line 42"/>
          <p:cNvSpPr>
            <a:spLocks noChangeShapeType="1"/>
          </p:cNvSpPr>
          <p:nvPr/>
        </p:nvSpPr>
        <p:spPr bwMode="auto">
          <a:xfrm>
            <a:off x="456971" y="1484784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2" name="Line 42"/>
          <p:cNvSpPr>
            <a:spLocks noChangeShapeType="1"/>
          </p:cNvSpPr>
          <p:nvPr/>
        </p:nvSpPr>
        <p:spPr bwMode="auto">
          <a:xfrm>
            <a:off x="456972" y="3471980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Line 42"/>
          <p:cNvSpPr>
            <a:spLocks noChangeShapeType="1"/>
          </p:cNvSpPr>
          <p:nvPr/>
        </p:nvSpPr>
        <p:spPr bwMode="auto">
          <a:xfrm>
            <a:off x="456973" y="5437405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Line 42"/>
          <p:cNvSpPr>
            <a:spLocks noChangeShapeType="1"/>
          </p:cNvSpPr>
          <p:nvPr/>
        </p:nvSpPr>
        <p:spPr bwMode="auto">
          <a:xfrm>
            <a:off x="456970" y="4437112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2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476249" y="1556792"/>
            <a:ext cx="1203063" cy="709488"/>
          </a:xfrm>
          <a:prstGeom prst="upArrow">
            <a:avLst>
              <a:gd name="adj1" fmla="val 61086"/>
              <a:gd name="adj2" fmla="val 67089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53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>
            <a:off x="476249" y="4578250"/>
            <a:ext cx="1203063" cy="709488"/>
          </a:xfrm>
          <a:prstGeom prst="upArrow">
            <a:avLst>
              <a:gd name="adj1" fmla="val 61086"/>
              <a:gd name="adj2" fmla="val 67089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1907704" y="1412776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7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3181928" y="1788425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31" hasCustomPrompt="1"/>
          </p:nvPr>
        </p:nvSpPr>
        <p:spPr>
          <a:xfrm>
            <a:off x="3851920" y="1628800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  <p:sp>
        <p:nvSpPr>
          <p:cNvPr id="60" name="Espace réservé du texte 8"/>
          <p:cNvSpPr>
            <a:spLocks noGrp="1"/>
          </p:cNvSpPr>
          <p:nvPr>
            <p:ph type="body" sz="quarter" idx="32" hasCustomPrompt="1"/>
          </p:nvPr>
        </p:nvSpPr>
        <p:spPr>
          <a:xfrm>
            <a:off x="1907704" y="240573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1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3181928" y="278138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2" name="Espace réservé du contenu 5"/>
          <p:cNvSpPr>
            <a:spLocks noGrp="1"/>
          </p:cNvSpPr>
          <p:nvPr>
            <p:ph sz="quarter" idx="34" hasCustomPrompt="1"/>
          </p:nvPr>
        </p:nvSpPr>
        <p:spPr>
          <a:xfrm>
            <a:off x="3851920" y="2621762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  <p:sp>
        <p:nvSpPr>
          <p:cNvPr id="63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1907704" y="339870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4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3181928" y="377434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6" name="Espace réservé du contenu 5"/>
          <p:cNvSpPr>
            <a:spLocks noGrp="1"/>
          </p:cNvSpPr>
          <p:nvPr>
            <p:ph sz="quarter" idx="37" hasCustomPrompt="1"/>
          </p:nvPr>
        </p:nvSpPr>
        <p:spPr>
          <a:xfrm>
            <a:off x="3851920" y="3614724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  <p:sp>
        <p:nvSpPr>
          <p:cNvPr id="67" name="Espace réservé du texte 8"/>
          <p:cNvSpPr>
            <a:spLocks noGrp="1"/>
          </p:cNvSpPr>
          <p:nvPr>
            <p:ph type="body" sz="quarter" idx="38" hasCustomPrompt="1"/>
          </p:nvPr>
        </p:nvSpPr>
        <p:spPr>
          <a:xfrm>
            <a:off x="1907704" y="4391662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8" name="Espace réservé du texte 8"/>
          <p:cNvSpPr>
            <a:spLocks noGrp="1"/>
          </p:cNvSpPr>
          <p:nvPr>
            <p:ph type="body" sz="quarter" idx="39" hasCustomPrompt="1"/>
          </p:nvPr>
        </p:nvSpPr>
        <p:spPr>
          <a:xfrm>
            <a:off x="3181928" y="4767311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9" name="Espace réservé du contenu 5"/>
          <p:cNvSpPr>
            <a:spLocks noGrp="1"/>
          </p:cNvSpPr>
          <p:nvPr>
            <p:ph sz="quarter" idx="40" hasCustomPrompt="1"/>
          </p:nvPr>
        </p:nvSpPr>
        <p:spPr>
          <a:xfrm>
            <a:off x="3851920" y="4607686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874995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ffres clés avec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1214438" y="1189990"/>
            <a:ext cx="2047875" cy="2209800"/>
          </a:xfrm>
          <a:prstGeom prst="rect">
            <a:avLst/>
          </a:prstGeom>
          <a:noFill/>
          <a:ln w="1270" cap="sq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91440" tIns="114300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accent6"/>
              </a:solidFill>
              <a:effectLst/>
              <a:latin typeface="Arial" pitchFamily="34" charset="0"/>
            </a:endParaRP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1209395" y="3558540"/>
            <a:ext cx="3192462" cy="1003300"/>
          </a:xfrm>
          <a:prstGeom prst="rect">
            <a:avLst/>
          </a:prstGeom>
          <a:noFill/>
          <a:ln w="1270" cap="sq" algn="ctr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accent6"/>
              </a:solidFill>
              <a:effectLst/>
              <a:latin typeface="Arial" pitchFamily="34" charset="0"/>
            </a:endParaRP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3492500" y="1189990"/>
            <a:ext cx="2047875" cy="2209800"/>
          </a:xfrm>
          <a:prstGeom prst="rect">
            <a:avLst/>
          </a:prstGeom>
          <a:noFill/>
          <a:ln w="1270" cap="sq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91440" tIns="114300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5673725" y="1189990"/>
            <a:ext cx="2047875" cy="2209800"/>
          </a:xfrm>
          <a:prstGeom prst="rect">
            <a:avLst/>
          </a:prstGeom>
          <a:solidFill>
            <a:schemeClr val="accent4"/>
          </a:solidFill>
          <a:ln w="1270" cap="sq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114300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9" name="Rectangle 23"/>
          <p:cNvSpPr>
            <a:spLocks noChangeArrowheads="1"/>
          </p:cNvSpPr>
          <p:nvPr/>
        </p:nvSpPr>
        <p:spPr bwMode="auto">
          <a:xfrm>
            <a:off x="4529138" y="3558540"/>
            <a:ext cx="3192462" cy="1003300"/>
          </a:xfrm>
          <a:prstGeom prst="rect">
            <a:avLst/>
          </a:prstGeom>
          <a:solidFill>
            <a:schemeClr val="accent1"/>
          </a:solidFill>
          <a:ln w="1270" cap="sq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35" name="Rectangle 23"/>
          <p:cNvSpPr>
            <a:spLocks noChangeArrowheads="1"/>
          </p:cNvSpPr>
          <p:nvPr/>
        </p:nvSpPr>
        <p:spPr bwMode="auto">
          <a:xfrm>
            <a:off x="1209395" y="4768215"/>
            <a:ext cx="3192462" cy="1003300"/>
          </a:xfrm>
          <a:prstGeom prst="rect">
            <a:avLst/>
          </a:prstGeom>
          <a:noFill/>
          <a:ln w="1270" cap="sq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accent6"/>
              </a:solidFill>
              <a:effectLst/>
              <a:latin typeface="Arial" pitchFamily="34" charset="0"/>
            </a:endParaRPr>
          </a:p>
        </p:txBody>
      </p:sp>
      <p:sp>
        <p:nvSpPr>
          <p:cNvPr id="36" name="Rectangle 23"/>
          <p:cNvSpPr>
            <a:spLocks noChangeArrowheads="1"/>
          </p:cNvSpPr>
          <p:nvPr/>
        </p:nvSpPr>
        <p:spPr bwMode="auto">
          <a:xfrm>
            <a:off x="4529138" y="4768215"/>
            <a:ext cx="3192462" cy="1003300"/>
          </a:xfrm>
          <a:prstGeom prst="rect">
            <a:avLst/>
          </a:prstGeom>
          <a:solidFill>
            <a:schemeClr val="accent3"/>
          </a:solidFill>
          <a:ln w="1270" cap="sq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4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1331640" y="1268760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5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2685441" y="148478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37" hasCustomPrompt="1"/>
          </p:nvPr>
        </p:nvSpPr>
        <p:spPr>
          <a:xfrm>
            <a:off x="1331913" y="2420938"/>
            <a:ext cx="1871662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47" name="Espace réservé du texte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3034" y="1268125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8" name="Espace réservé du texte 8"/>
          <p:cNvSpPr>
            <a:spLocks noGrp="1"/>
          </p:cNvSpPr>
          <p:nvPr>
            <p:ph type="body" sz="quarter" idx="39" hasCustomPrompt="1"/>
          </p:nvPr>
        </p:nvSpPr>
        <p:spPr>
          <a:xfrm>
            <a:off x="4946835" y="148414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9" name="Espace réservé du texte 3"/>
          <p:cNvSpPr>
            <a:spLocks noGrp="1"/>
          </p:cNvSpPr>
          <p:nvPr>
            <p:ph type="body" sz="quarter" idx="40" hasCustomPrompt="1"/>
          </p:nvPr>
        </p:nvSpPr>
        <p:spPr>
          <a:xfrm>
            <a:off x="3593307" y="2420303"/>
            <a:ext cx="1871662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50" name="Espace réservé du texte 8"/>
          <p:cNvSpPr>
            <a:spLocks noGrp="1"/>
          </p:cNvSpPr>
          <p:nvPr>
            <p:ph type="body" sz="quarter" idx="41" hasCustomPrompt="1"/>
          </p:nvPr>
        </p:nvSpPr>
        <p:spPr>
          <a:xfrm>
            <a:off x="5761558" y="1268125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1" name="Espace réservé du texte 8"/>
          <p:cNvSpPr>
            <a:spLocks noGrp="1"/>
          </p:cNvSpPr>
          <p:nvPr>
            <p:ph type="body" sz="quarter" idx="42" hasCustomPrompt="1"/>
          </p:nvPr>
        </p:nvSpPr>
        <p:spPr>
          <a:xfrm>
            <a:off x="7115359" y="148414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8" name="Espace réservé du texte 3"/>
          <p:cNvSpPr>
            <a:spLocks noGrp="1"/>
          </p:cNvSpPr>
          <p:nvPr>
            <p:ph type="body" sz="quarter" idx="43" hasCustomPrompt="1"/>
          </p:nvPr>
        </p:nvSpPr>
        <p:spPr>
          <a:xfrm>
            <a:off x="5761831" y="2420303"/>
            <a:ext cx="1871662" cy="931862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44" hasCustomPrompt="1"/>
          </p:nvPr>
        </p:nvSpPr>
        <p:spPr>
          <a:xfrm>
            <a:off x="1215528" y="3520130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5" name="Espace réservé du texte 8"/>
          <p:cNvSpPr>
            <a:spLocks noGrp="1"/>
          </p:cNvSpPr>
          <p:nvPr>
            <p:ph type="body" sz="quarter" idx="45" hasCustomPrompt="1"/>
          </p:nvPr>
        </p:nvSpPr>
        <p:spPr>
          <a:xfrm>
            <a:off x="2569329" y="373615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70" name="Espace réservé du texte 8"/>
          <p:cNvSpPr>
            <a:spLocks noGrp="1"/>
          </p:cNvSpPr>
          <p:nvPr>
            <p:ph type="body" sz="quarter" idx="46" hasCustomPrompt="1"/>
          </p:nvPr>
        </p:nvSpPr>
        <p:spPr>
          <a:xfrm>
            <a:off x="1192667" y="4722548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71" name="Espace réservé du texte 8"/>
          <p:cNvSpPr>
            <a:spLocks noGrp="1"/>
          </p:cNvSpPr>
          <p:nvPr>
            <p:ph type="body" sz="quarter" idx="47" hasCustomPrompt="1"/>
          </p:nvPr>
        </p:nvSpPr>
        <p:spPr>
          <a:xfrm>
            <a:off x="2546468" y="4938572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72" name="Espace réservé du texte 3"/>
          <p:cNvSpPr>
            <a:spLocks noGrp="1"/>
          </p:cNvSpPr>
          <p:nvPr>
            <p:ph type="body" sz="quarter" idx="48" hasCustomPrompt="1"/>
          </p:nvPr>
        </p:nvSpPr>
        <p:spPr>
          <a:xfrm>
            <a:off x="3105713" y="3594259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3" name="Espace réservé du texte 3"/>
          <p:cNvSpPr>
            <a:spLocks noGrp="1"/>
          </p:cNvSpPr>
          <p:nvPr>
            <p:ph type="body" sz="quarter" idx="49" hasCustomPrompt="1"/>
          </p:nvPr>
        </p:nvSpPr>
        <p:spPr>
          <a:xfrm>
            <a:off x="3105713" y="4803934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4" name="Espace réservé du texte 3"/>
          <p:cNvSpPr>
            <a:spLocks noGrp="1"/>
          </p:cNvSpPr>
          <p:nvPr>
            <p:ph type="body" sz="quarter" idx="50" hasCustomPrompt="1"/>
          </p:nvPr>
        </p:nvSpPr>
        <p:spPr>
          <a:xfrm>
            <a:off x="6394805" y="4803934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5" name="Espace réservé du texte 3"/>
          <p:cNvSpPr>
            <a:spLocks noGrp="1"/>
          </p:cNvSpPr>
          <p:nvPr>
            <p:ph type="body" sz="quarter" idx="51" hasCustomPrompt="1"/>
          </p:nvPr>
        </p:nvSpPr>
        <p:spPr>
          <a:xfrm>
            <a:off x="6393971" y="3594259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6" name="Espace réservé du texte 8"/>
          <p:cNvSpPr>
            <a:spLocks noGrp="1"/>
          </p:cNvSpPr>
          <p:nvPr>
            <p:ph type="body" sz="quarter" idx="52" hasCustomPrompt="1"/>
          </p:nvPr>
        </p:nvSpPr>
        <p:spPr>
          <a:xfrm>
            <a:off x="4529138" y="3520130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77" name="Espace réservé du texte 8"/>
          <p:cNvSpPr>
            <a:spLocks noGrp="1"/>
          </p:cNvSpPr>
          <p:nvPr>
            <p:ph type="body" sz="quarter" idx="53" hasCustomPrompt="1"/>
          </p:nvPr>
        </p:nvSpPr>
        <p:spPr>
          <a:xfrm>
            <a:off x="5882939" y="373615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78" name="Espace réservé du texte 8"/>
          <p:cNvSpPr>
            <a:spLocks noGrp="1"/>
          </p:cNvSpPr>
          <p:nvPr>
            <p:ph type="body" sz="quarter" idx="54" hasCustomPrompt="1"/>
          </p:nvPr>
        </p:nvSpPr>
        <p:spPr>
          <a:xfrm>
            <a:off x="4528295" y="4737609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79" name="Espace réservé du texte 8"/>
          <p:cNvSpPr>
            <a:spLocks noGrp="1"/>
          </p:cNvSpPr>
          <p:nvPr>
            <p:ph type="body" sz="quarter" idx="55" hasCustomPrompt="1"/>
          </p:nvPr>
        </p:nvSpPr>
        <p:spPr>
          <a:xfrm>
            <a:off x="5882096" y="4953633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7032577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quipes et mini 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texte 18"/>
          <p:cNvSpPr>
            <a:spLocks noGrp="1"/>
          </p:cNvSpPr>
          <p:nvPr>
            <p:ph type="body" sz="quarter" idx="17"/>
          </p:nvPr>
        </p:nvSpPr>
        <p:spPr>
          <a:xfrm>
            <a:off x="464481" y="1335344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 baseline="0">
                <a:solidFill>
                  <a:schemeClr val="tx1"/>
                </a:solidFill>
              </a:defRPr>
            </a:lvl3pPr>
            <a:lvl4pPr marL="228600" indent="0">
              <a:buFontTx/>
              <a:buNone/>
              <a:defRPr/>
            </a:lvl4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0208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Espace réservé du texte 18"/>
          <p:cNvSpPr>
            <a:spLocks noGrp="1"/>
          </p:cNvSpPr>
          <p:nvPr>
            <p:ph type="body" sz="quarter" idx="18"/>
          </p:nvPr>
        </p:nvSpPr>
        <p:spPr>
          <a:xfrm>
            <a:off x="4677058" y="1335344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1" name="Espace réservé du texte 18"/>
          <p:cNvSpPr>
            <a:spLocks noGrp="1"/>
          </p:cNvSpPr>
          <p:nvPr>
            <p:ph type="body" sz="quarter" idx="20"/>
          </p:nvPr>
        </p:nvSpPr>
        <p:spPr>
          <a:xfrm>
            <a:off x="464481" y="2537700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/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2" name="Espace réservé pour une image  14"/>
          <p:cNvSpPr>
            <a:spLocks noGrp="1"/>
          </p:cNvSpPr>
          <p:nvPr>
            <p:ph type="pic" sz="quarter" idx="21"/>
          </p:nvPr>
        </p:nvSpPr>
        <p:spPr>
          <a:xfrm>
            <a:off x="576092" y="2638127"/>
            <a:ext cx="680643" cy="864000"/>
          </a:xfrm>
          <a:solidFill>
            <a:schemeClr val="bg1">
              <a:lumMod val="85000"/>
            </a:schemeClr>
          </a:solidFill>
          <a:effectLst/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33" name="Espace réservé du texte 18"/>
          <p:cNvSpPr>
            <a:spLocks noGrp="1"/>
          </p:cNvSpPr>
          <p:nvPr>
            <p:ph type="body" sz="quarter" idx="22"/>
          </p:nvPr>
        </p:nvSpPr>
        <p:spPr>
          <a:xfrm>
            <a:off x="4677058" y="2537700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/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5" name="Espace réservé du texte 18"/>
          <p:cNvSpPr>
            <a:spLocks noGrp="1"/>
          </p:cNvSpPr>
          <p:nvPr>
            <p:ph type="body" sz="quarter" idx="24"/>
          </p:nvPr>
        </p:nvSpPr>
        <p:spPr>
          <a:xfrm>
            <a:off x="464481" y="3763352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7" name="Espace réservé du texte 18"/>
          <p:cNvSpPr>
            <a:spLocks noGrp="1"/>
          </p:cNvSpPr>
          <p:nvPr>
            <p:ph type="body" sz="quarter" idx="26"/>
          </p:nvPr>
        </p:nvSpPr>
        <p:spPr>
          <a:xfrm>
            <a:off x="4677058" y="3763352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9" name="Espace réservé du texte 18"/>
          <p:cNvSpPr>
            <a:spLocks noGrp="1"/>
          </p:cNvSpPr>
          <p:nvPr>
            <p:ph type="body" sz="quarter" idx="28"/>
          </p:nvPr>
        </p:nvSpPr>
        <p:spPr>
          <a:xfrm>
            <a:off x="464481" y="4994828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1" name="Espace réservé du texte 18"/>
          <p:cNvSpPr>
            <a:spLocks noGrp="1"/>
          </p:cNvSpPr>
          <p:nvPr>
            <p:ph type="body" sz="quarter" idx="30"/>
          </p:nvPr>
        </p:nvSpPr>
        <p:spPr>
          <a:xfrm>
            <a:off x="4677058" y="4994828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/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pour une image  14"/>
          <p:cNvSpPr>
            <a:spLocks noGrp="1"/>
          </p:cNvSpPr>
          <p:nvPr>
            <p:ph type="pic" sz="quarter" idx="16" hasCustomPrompt="1"/>
          </p:nvPr>
        </p:nvSpPr>
        <p:spPr>
          <a:xfrm>
            <a:off x="539552" y="2636912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2" name="Espace réservé pour une image  14"/>
          <p:cNvSpPr>
            <a:spLocks noGrp="1"/>
          </p:cNvSpPr>
          <p:nvPr>
            <p:ph type="pic" sz="quarter" idx="32" hasCustomPrompt="1"/>
          </p:nvPr>
        </p:nvSpPr>
        <p:spPr>
          <a:xfrm>
            <a:off x="539552" y="1412776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3" name="Espace réservé pour une image  14"/>
          <p:cNvSpPr>
            <a:spLocks noGrp="1"/>
          </p:cNvSpPr>
          <p:nvPr>
            <p:ph type="pic" sz="quarter" idx="33" hasCustomPrompt="1"/>
          </p:nvPr>
        </p:nvSpPr>
        <p:spPr>
          <a:xfrm>
            <a:off x="539552" y="5085184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4" name="Espace réservé pour une image  14"/>
          <p:cNvSpPr>
            <a:spLocks noGrp="1"/>
          </p:cNvSpPr>
          <p:nvPr>
            <p:ph type="pic" sz="quarter" idx="34" hasCustomPrompt="1"/>
          </p:nvPr>
        </p:nvSpPr>
        <p:spPr>
          <a:xfrm>
            <a:off x="539552" y="3861048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5" name="Espace réservé pour une image  14"/>
          <p:cNvSpPr>
            <a:spLocks noGrp="1"/>
          </p:cNvSpPr>
          <p:nvPr>
            <p:ph type="pic" sz="quarter" idx="35" hasCustomPrompt="1"/>
          </p:nvPr>
        </p:nvSpPr>
        <p:spPr>
          <a:xfrm>
            <a:off x="4788024" y="2636912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6" name="Espace réservé pour une image  14"/>
          <p:cNvSpPr>
            <a:spLocks noGrp="1"/>
          </p:cNvSpPr>
          <p:nvPr>
            <p:ph type="pic" sz="quarter" idx="36" hasCustomPrompt="1"/>
          </p:nvPr>
        </p:nvSpPr>
        <p:spPr>
          <a:xfrm>
            <a:off x="4788024" y="1412776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7" name="Espace réservé pour une image  14"/>
          <p:cNvSpPr>
            <a:spLocks noGrp="1"/>
          </p:cNvSpPr>
          <p:nvPr>
            <p:ph type="pic" sz="quarter" idx="37" hasCustomPrompt="1"/>
          </p:nvPr>
        </p:nvSpPr>
        <p:spPr>
          <a:xfrm>
            <a:off x="4788024" y="5085184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8" name="Espace réservé pour une image  14"/>
          <p:cNvSpPr>
            <a:spLocks noGrp="1"/>
          </p:cNvSpPr>
          <p:nvPr>
            <p:ph type="pic" sz="quarter" idx="38" hasCustomPrompt="1"/>
          </p:nvPr>
        </p:nvSpPr>
        <p:spPr>
          <a:xfrm>
            <a:off x="4788024" y="3861048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1209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nning activit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ableau 50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68831"/>
              </p:ext>
            </p:extLst>
          </p:nvPr>
        </p:nvGraphicFramePr>
        <p:xfrm>
          <a:off x="457073" y="1340768"/>
          <a:ext cx="8507415" cy="4455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9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6655">
                <a:tc rowSpan="2"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bg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409"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35996" marR="3599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 hasCustomPrompt="1"/>
          </p:nvPr>
        </p:nvSpPr>
        <p:spPr>
          <a:xfrm>
            <a:off x="456383" y="1916832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456383" y="2348296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 hasCustomPrompt="1"/>
          </p:nvPr>
        </p:nvSpPr>
        <p:spPr>
          <a:xfrm>
            <a:off x="456383" y="2779760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456383" y="3211224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456383" y="3642688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456383" y="4074152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456383" y="4505616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456383" y="4937080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456383" y="5368544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1680519" y="1341118"/>
            <a:ext cx="7272808" cy="288031"/>
          </a:xfrm>
        </p:spPr>
        <p:txBody>
          <a:bodyPr lIns="36000" tIns="36000" bIns="36000" anchor="ctr">
            <a:noAutofit/>
          </a:bodyPr>
          <a:lstStyle>
            <a:lvl1pPr marL="0" indent="0" algn="ctr">
              <a:buNone/>
              <a:defRPr sz="105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6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1691680" y="2060847"/>
            <a:ext cx="2447953" cy="10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7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2267744" y="2492896"/>
            <a:ext cx="2304256" cy="108000"/>
          </a:xfrm>
          <a:prstGeom prst="rect">
            <a:avLst/>
          </a:prstGeom>
          <a:pattFill prst="dkVert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0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1697823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37" hasCustomPrompt="1"/>
          </p:nvPr>
        </p:nvSpPr>
        <p:spPr>
          <a:xfrm>
            <a:off x="8374975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37" name="Espace réservé du texte 7"/>
          <p:cNvSpPr>
            <a:spLocks noGrp="1"/>
          </p:cNvSpPr>
          <p:nvPr>
            <p:ph type="body" sz="quarter" idx="38" hasCustomPrompt="1"/>
          </p:nvPr>
        </p:nvSpPr>
        <p:spPr>
          <a:xfrm>
            <a:off x="2304837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39" hasCustomPrompt="1"/>
          </p:nvPr>
        </p:nvSpPr>
        <p:spPr>
          <a:xfrm>
            <a:off x="7767963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3" name="Espace réservé du texte 7"/>
          <p:cNvSpPr>
            <a:spLocks noGrp="1"/>
          </p:cNvSpPr>
          <p:nvPr>
            <p:ph type="body" sz="quarter" idx="40" hasCustomPrompt="1"/>
          </p:nvPr>
        </p:nvSpPr>
        <p:spPr>
          <a:xfrm>
            <a:off x="2911851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41" hasCustomPrompt="1"/>
          </p:nvPr>
        </p:nvSpPr>
        <p:spPr>
          <a:xfrm>
            <a:off x="7160949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5" name="Espace réservé du texte 7"/>
          <p:cNvSpPr>
            <a:spLocks noGrp="1"/>
          </p:cNvSpPr>
          <p:nvPr>
            <p:ph type="body" sz="quarter" idx="42" hasCustomPrompt="1"/>
          </p:nvPr>
        </p:nvSpPr>
        <p:spPr>
          <a:xfrm>
            <a:off x="3518865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43" hasCustomPrompt="1"/>
          </p:nvPr>
        </p:nvSpPr>
        <p:spPr>
          <a:xfrm>
            <a:off x="6553935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7" name="Espace réservé du texte 7"/>
          <p:cNvSpPr>
            <a:spLocks noGrp="1"/>
          </p:cNvSpPr>
          <p:nvPr>
            <p:ph type="body" sz="quarter" idx="44" hasCustomPrompt="1"/>
          </p:nvPr>
        </p:nvSpPr>
        <p:spPr>
          <a:xfrm>
            <a:off x="4125879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45" hasCustomPrompt="1"/>
          </p:nvPr>
        </p:nvSpPr>
        <p:spPr>
          <a:xfrm>
            <a:off x="4732893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9" name="Espace réservé du texte 7"/>
          <p:cNvSpPr>
            <a:spLocks noGrp="1"/>
          </p:cNvSpPr>
          <p:nvPr>
            <p:ph type="body" sz="quarter" idx="46" hasCustomPrompt="1"/>
          </p:nvPr>
        </p:nvSpPr>
        <p:spPr>
          <a:xfrm>
            <a:off x="5339907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50" name="Espace réservé du texte 7"/>
          <p:cNvSpPr>
            <a:spLocks noGrp="1"/>
          </p:cNvSpPr>
          <p:nvPr>
            <p:ph type="body" sz="quarter" idx="47" hasCustomPrompt="1"/>
          </p:nvPr>
        </p:nvSpPr>
        <p:spPr>
          <a:xfrm>
            <a:off x="5946921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3" name="Espace réservé du texte 8"/>
          <p:cNvSpPr>
            <a:spLocks noGrp="1"/>
          </p:cNvSpPr>
          <p:nvPr>
            <p:ph type="body" sz="quarter" idx="49" hasCustomPrompt="1"/>
          </p:nvPr>
        </p:nvSpPr>
        <p:spPr>
          <a:xfrm>
            <a:off x="4046173" y="2204864"/>
            <a:ext cx="144016" cy="144016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8"/>
          <p:cNvSpPr>
            <a:spLocks noGrp="1"/>
          </p:cNvSpPr>
          <p:nvPr>
            <p:ph type="body" sz="quarter" idx="50" hasCustomPrompt="1"/>
          </p:nvPr>
        </p:nvSpPr>
        <p:spPr>
          <a:xfrm>
            <a:off x="1763688" y="5985297"/>
            <a:ext cx="108000" cy="10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5" name="Espace réservé du texte 8"/>
          <p:cNvSpPr>
            <a:spLocks noGrp="1"/>
          </p:cNvSpPr>
          <p:nvPr>
            <p:ph type="body" sz="quarter" idx="51" hasCustomPrompt="1"/>
          </p:nvPr>
        </p:nvSpPr>
        <p:spPr>
          <a:xfrm>
            <a:off x="3203848" y="5985297"/>
            <a:ext cx="108000" cy="108000"/>
          </a:xfrm>
          <a:prstGeom prst="rect">
            <a:avLst/>
          </a:prstGeom>
          <a:pattFill prst="dkVert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52" hasCustomPrompt="1"/>
          </p:nvPr>
        </p:nvSpPr>
        <p:spPr>
          <a:xfrm>
            <a:off x="4644008" y="5949281"/>
            <a:ext cx="144016" cy="144016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7" name="Espace réservé du texte 8"/>
          <p:cNvSpPr>
            <a:spLocks noGrp="1"/>
          </p:cNvSpPr>
          <p:nvPr>
            <p:ph type="body" sz="quarter" idx="53" hasCustomPrompt="1"/>
          </p:nvPr>
        </p:nvSpPr>
        <p:spPr>
          <a:xfrm>
            <a:off x="1907704" y="5949281"/>
            <a:ext cx="1224136" cy="144016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 1</a:t>
            </a:r>
          </a:p>
        </p:txBody>
      </p:sp>
      <p:sp>
        <p:nvSpPr>
          <p:cNvPr id="58" name="Espace réservé du texte 8"/>
          <p:cNvSpPr>
            <a:spLocks noGrp="1"/>
          </p:cNvSpPr>
          <p:nvPr>
            <p:ph type="body" sz="quarter" idx="54" hasCustomPrompt="1"/>
          </p:nvPr>
        </p:nvSpPr>
        <p:spPr>
          <a:xfrm>
            <a:off x="3347864" y="5949281"/>
            <a:ext cx="1224136" cy="144016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 2</a:t>
            </a:r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55" hasCustomPrompt="1"/>
          </p:nvPr>
        </p:nvSpPr>
        <p:spPr>
          <a:xfrm>
            <a:off x="4831566" y="5949281"/>
            <a:ext cx="1224136" cy="144016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 3</a:t>
            </a:r>
          </a:p>
        </p:txBody>
      </p:sp>
    </p:spTree>
    <p:extLst>
      <p:ext uri="{BB962C8B-B14F-4D97-AF65-F5344CB8AC3E}">
        <p14:creationId xmlns:p14="http://schemas.microsoft.com/office/powerpoint/2010/main" val="267057524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2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2"/>
          <p:cNvSpPr>
            <a:spLocks/>
          </p:cNvSpPr>
          <p:nvPr/>
        </p:nvSpPr>
        <p:spPr bwMode="auto">
          <a:xfrm>
            <a:off x="2780059" y="1644924"/>
            <a:ext cx="3843337" cy="2224088"/>
          </a:xfrm>
          <a:custGeom>
            <a:avLst/>
            <a:gdLst>
              <a:gd name="T0" fmla="*/ 2147483647 w 2175"/>
              <a:gd name="T1" fmla="*/ 2147483647 h 1259"/>
              <a:gd name="T2" fmla="*/ 2147483647 w 2175"/>
              <a:gd name="T3" fmla="*/ 2147483647 h 1259"/>
              <a:gd name="T4" fmla="*/ 2147483647 w 2175"/>
              <a:gd name="T5" fmla="*/ 2147483647 h 1259"/>
              <a:gd name="T6" fmla="*/ 2147483647 w 2175"/>
              <a:gd name="T7" fmla="*/ 2147483647 h 1259"/>
              <a:gd name="T8" fmla="*/ 2147483647 w 2175"/>
              <a:gd name="T9" fmla="*/ 2147483647 h 1259"/>
              <a:gd name="T10" fmla="*/ 2147483647 w 2175"/>
              <a:gd name="T11" fmla="*/ 2147483647 h 1259"/>
              <a:gd name="T12" fmla="*/ 2147483647 w 2175"/>
              <a:gd name="T13" fmla="*/ 2147483647 h 1259"/>
              <a:gd name="T14" fmla="*/ 2147483647 w 2175"/>
              <a:gd name="T15" fmla="*/ 2147483647 h 1259"/>
              <a:gd name="T16" fmla="*/ 2147483647 w 2175"/>
              <a:gd name="T17" fmla="*/ 2147483647 h 1259"/>
              <a:gd name="T18" fmla="*/ 2147483647 w 2175"/>
              <a:gd name="T19" fmla="*/ 2147483647 h 1259"/>
              <a:gd name="T20" fmla="*/ 2147483647 w 2175"/>
              <a:gd name="T21" fmla="*/ 2147483647 h 1259"/>
              <a:gd name="T22" fmla="*/ 2147483647 w 2175"/>
              <a:gd name="T23" fmla="*/ 2147483647 h 1259"/>
              <a:gd name="T24" fmla="*/ 2147483647 w 2175"/>
              <a:gd name="T25" fmla="*/ 2147483647 h 1259"/>
              <a:gd name="T26" fmla="*/ 2147483647 w 2175"/>
              <a:gd name="T27" fmla="*/ 2147483647 h 1259"/>
              <a:gd name="T28" fmla="*/ 2147483647 w 2175"/>
              <a:gd name="T29" fmla="*/ 2147483647 h 1259"/>
              <a:gd name="T30" fmla="*/ 2147483647 w 2175"/>
              <a:gd name="T31" fmla="*/ 2147483647 h 1259"/>
              <a:gd name="T32" fmla="*/ 2147483647 w 2175"/>
              <a:gd name="T33" fmla="*/ 2147483647 h 1259"/>
              <a:gd name="T34" fmla="*/ 2147483647 w 2175"/>
              <a:gd name="T35" fmla="*/ 2147483647 h 1259"/>
              <a:gd name="T36" fmla="*/ 2147483647 w 2175"/>
              <a:gd name="T37" fmla="*/ 2147483647 h 1259"/>
              <a:gd name="T38" fmla="*/ 2147483647 w 2175"/>
              <a:gd name="T39" fmla="*/ 2147483647 h 1259"/>
              <a:gd name="T40" fmla="*/ 2147483647 w 2175"/>
              <a:gd name="T41" fmla="*/ 2147483647 h 1259"/>
              <a:gd name="T42" fmla="*/ 2147483647 w 2175"/>
              <a:gd name="T43" fmla="*/ 2147483647 h 1259"/>
              <a:gd name="T44" fmla="*/ 2147483647 w 2175"/>
              <a:gd name="T45" fmla="*/ 1925473850 h 1259"/>
              <a:gd name="T46" fmla="*/ 2147483647 w 2175"/>
              <a:gd name="T47" fmla="*/ 1803766908 h 1259"/>
              <a:gd name="T48" fmla="*/ 2147483647 w 2175"/>
              <a:gd name="T49" fmla="*/ 1785041472 h 1259"/>
              <a:gd name="T50" fmla="*/ 2147483647 w 2175"/>
              <a:gd name="T51" fmla="*/ 1863059852 h 1259"/>
              <a:gd name="T52" fmla="*/ 2147483647 w 2175"/>
              <a:gd name="T53" fmla="*/ 2012854506 h 1259"/>
              <a:gd name="T54" fmla="*/ 2147483647 w 2175"/>
              <a:gd name="T55" fmla="*/ 2147483647 h 1259"/>
              <a:gd name="T56" fmla="*/ 2007748629 w 2175"/>
              <a:gd name="T57" fmla="*/ 2147483647 h 1259"/>
              <a:gd name="T58" fmla="*/ 1904706601 w 2175"/>
              <a:gd name="T59" fmla="*/ 2147483647 h 1259"/>
              <a:gd name="T60" fmla="*/ 1851623956 w 2175"/>
              <a:gd name="T61" fmla="*/ 2147483647 h 1259"/>
              <a:gd name="T62" fmla="*/ 1829767306 w 2175"/>
              <a:gd name="T63" fmla="*/ 2147483647 h 1259"/>
              <a:gd name="T64" fmla="*/ 1736094181 w 2175"/>
              <a:gd name="T65" fmla="*/ 2147483647 h 1259"/>
              <a:gd name="T66" fmla="*/ 1401989070 w 2175"/>
              <a:gd name="T67" fmla="*/ 2147483647 h 1259"/>
              <a:gd name="T68" fmla="*/ 1014803523 w 2175"/>
              <a:gd name="T69" fmla="*/ 2147483647 h 1259"/>
              <a:gd name="T70" fmla="*/ 861801450 w 2175"/>
              <a:gd name="T71" fmla="*/ 2147483647 h 1259"/>
              <a:gd name="T72" fmla="*/ 777495461 w 2175"/>
              <a:gd name="T73" fmla="*/ 2147483647 h 1259"/>
              <a:gd name="T74" fmla="*/ 483983038 w 2175"/>
              <a:gd name="T75" fmla="*/ 2147483647 h 1259"/>
              <a:gd name="T76" fmla="*/ 137388247 w 2175"/>
              <a:gd name="T77" fmla="*/ 2147483647 h 1259"/>
              <a:gd name="T78" fmla="*/ 3122379 w 2175"/>
              <a:gd name="T79" fmla="*/ 2147483647 h 1259"/>
              <a:gd name="T80" fmla="*/ 6244759 w 2175"/>
              <a:gd name="T81" fmla="*/ 2147483647 h 1259"/>
              <a:gd name="T82" fmla="*/ 28101414 w 2175"/>
              <a:gd name="T83" fmla="*/ 2147483647 h 1259"/>
              <a:gd name="T84" fmla="*/ 78061259 w 2175"/>
              <a:gd name="T85" fmla="*/ 2147483647 h 1259"/>
              <a:gd name="T86" fmla="*/ 181103315 w 2175"/>
              <a:gd name="T87" fmla="*/ 2015974234 h 1259"/>
              <a:gd name="T88" fmla="*/ 349717115 w 2175"/>
              <a:gd name="T89" fmla="*/ 1657093749 h 1259"/>
              <a:gd name="T90" fmla="*/ 612004095 w 2175"/>
              <a:gd name="T91" fmla="*/ 1263884329 h 1259"/>
              <a:gd name="T92" fmla="*/ 961721320 w 2175"/>
              <a:gd name="T93" fmla="*/ 870676455 h 1259"/>
              <a:gd name="T94" fmla="*/ 1389499556 w 2175"/>
              <a:gd name="T95" fmla="*/ 530520081 h 1259"/>
              <a:gd name="T96" fmla="*/ 1892217087 w 2175"/>
              <a:gd name="T97" fmla="*/ 259018818 h 1259"/>
              <a:gd name="T98" fmla="*/ 2147483647 w 2175"/>
              <a:gd name="T99" fmla="*/ 74896471 h 1259"/>
              <a:gd name="T100" fmla="*/ 2147483647 w 2175"/>
              <a:gd name="T101" fmla="*/ 0 h 1259"/>
              <a:gd name="T102" fmla="*/ 2147483647 w 2175"/>
              <a:gd name="T103" fmla="*/ 68655248 h 1259"/>
              <a:gd name="T104" fmla="*/ 2147483647 w 2175"/>
              <a:gd name="T105" fmla="*/ 283983710 h 1259"/>
              <a:gd name="T106" fmla="*/ 2147483647 w 2175"/>
              <a:gd name="T107" fmla="*/ 639744135 h 1259"/>
              <a:gd name="T108" fmla="*/ 2147483647 w 2175"/>
              <a:gd name="T109" fmla="*/ 1101608996 h 1259"/>
              <a:gd name="T110" fmla="*/ 2147483647 w 2175"/>
              <a:gd name="T111" fmla="*/ 1622766139 h 1259"/>
              <a:gd name="T112" fmla="*/ 2147483647 w 2175"/>
              <a:gd name="T113" fmla="*/ 2147483647 h 1259"/>
              <a:gd name="T114" fmla="*/ 2147483647 w 2175"/>
              <a:gd name="T115" fmla="*/ 2147483647 h 1259"/>
              <a:gd name="T116" fmla="*/ 2147483647 w 2175"/>
              <a:gd name="T117" fmla="*/ 2147483647 h 1259"/>
              <a:gd name="T118" fmla="*/ 2147483647 w 2175"/>
              <a:gd name="T119" fmla="*/ 2147483647 h 125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175"/>
              <a:gd name="T181" fmla="*/ 0 h 1259"/>
              <a:gd name="T182" fmla="*/ 2175 w 2175"/>
              <a:gd name="T183" fmla="*/ 1259 h 125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175" h="1259">
                <a:moveTo>
                  <a:pt x="2034" y="1013"/>
                </a:moveTo>
                <a:lnTo>
                  <a:pt x="2034" y="1013"/>
                </a:lnTo>
                <a:lnTo>
                  <a:pt x="2035" y="1013"/>
                </a:lnTo>
                <a:lnTo>
                  <a:pt x="2037" y="1013"/>
                </a:lnTo>
                <a:lnTo>
                  <a:pt x="2039" y="1013"/>
                </a:lnTo>
                <a:lnTo>
                  <a:pt x="2041" y="1013"/>
                </a:lnTo>
                <a:lnTo>
                  <a:pt x="2044" y="1013"/>
                </a:lnTo>
                <a:lnTo>
                  <a:pt x="2048" y="1013"/>
                </a:lnTo>
                <a:lnTo>
                  <a:pt x="2052" y="1013"/>
                </a:lnTo>
                <a:lnTo>
                  <a:pt x="2056" y="1013"/>
                </a:lnTo>
                <a:lnTo>
                  <a:pt x="2061" y="1013"/>
                </a:lnTo>
                <a:lnTo>
                  <a:pt x="2067" y="1013"/>
                </a:lnTo>
                <a:lnTo>
                  <a:pt x="2073" y="1013"/>
                </a:lnTo>
                <a:lnTo>
                  <a:pt x="2080" y="1013"/>
                </a:lnTo>
                <a:lnTo>
                  <a:pt x="2088" y="1013"/>
                </a:lnTo>
                <a:lnTo>
                  <a:pt x="2096" y="1013"/>
                </a:lnTo>
                <a:lnTo>
                  <a:pt x="2104" y="1013"/>
                </a:lnTo>
                <a:lnTo>
                  <a:pt x="2113" y="1013"/>
                </a:lnTo>
                <a:lnTo>
                  <a:pt x="2120" y="1013"/>
                </a:lnTo>
                <a:lnTo>
                  <a:pt x="2128" y="1013"/>
                </a:lnTo>
                <a:lnTo>
                  <a:pt x="2135" y="1013"/>
                </a:lnTo>
                <a:lnTo>
                  <a:pt x="2141" y="1013"/>
                </a:lnTo>
                <a:lnTo>
                  <a:pt x="2147" y="1013"/>
                </a:lnTo>
                <a:lnTo>
                  <a:pt x="2152" y="1013"/>
                </a:lnTo>
                <a:lnTo>
                  <a:pt x="2157" y="1013"/>
                </a:lnTo>
                <a:lnTo>
                  <a:pt x="2161" y="1013"/>
                </a:lnTo>
                <a:lnTo>
                  <a:pt x="2164" y="1013"/>
                </a:lnTo>
                <a:lnTo>
                  <a:pt x="2167" y="1013"/>
                </a:lnTo>
                <a:lnTo>
                  <a:pt x="2170" y="1013"/>
                </a:lnTo>
                <a:lnTo>
                  <a:pt x="2172" y="1013"/>
                </a:lnTo>
                <a:lnTo>
                  <a:pt x="2173" y="1013"/>
                </a:lnTo>
                <a:lnTo>
                  <a:pt x="2174" y="1013"/>
                </a:lnTo>
                <a:lnTo>
                  <a:pt x="2173" y="1013"/>
                </a:lnTo>
                <a:lnTo>
                  <a:pt x="2171" y="1014"/>
                </a:lnTo>
                <a:lnTo>
                  <a:pt x="2166" y="1017"/>
                </a:lnTo>
                <a:lnTo>
                  <a:pt x="2161" y="1020"/>
                </a:lnTo>
                <a:lnTo>
                  <a:pt x="2153" y="1025"/>
                </a:lnTo>
                <a:lnTo>
                  <a:pt x="2144" y="1030"/>
                </a:lnTo>
                <a:lnTo>
                  <a:pt x="2133" y="1036"/>
                </a:lnTo>
                <a:lnTo>
                  <a:pt x="2120" y="1043"/>
                </a:lnTo>
                <a:lnTo>
                  <a:pt x="2106" y="1051"/>
                </a:lnTo>
                <a:lnTo>
                  <a:pt x="2090" y="1060"/>
                </a:lnTo>
                <a:lnTo>
                  <a:pt x="2072" y="1070"/>
                </a:lnTo>
                <a:lnTo>
                  <a:pt x="2053" y="1081"/>
                </a:lnTo>
                <a:lnTo>
                  <a:pt x="2032" y="1093"/>
                </a:lnTo>
                <a:lnTo>
                  <a:pt x="2010" y="1106"/>
                </a:lnTo>
                <a:lnTo>
                  <a:pt x="1985" y="1120"/>
                </a:lnTo>
                <a:lnTo>
                  <a:pt x="1959" y="1135"/>
                </a:lnTo>
                <a:lnTo>
                  <a:pt x="1933" y="1150"/>
                </a:lnTo>
                <a:lnTo>
                  <a:pt x="1909" y="1164"/>
                </a:lnTo>
                <a:lnTo>
                  <a:pt x="1886" y="1177"/>
                </a:lnTo>
                <a:lnTo>
                  <a:pt x="1865" y="1189"/>
                </a:lnTo>
                <a:lnTo>
                  <a:pt x="1846" y="1200"/>
                </a:lnTo>
                <a:lnTo>
                  <a:pt x="1828" y="1210"/>
                </a:lnTo>
                <a:lnTo>
                  <a:pt x="1812" y="1219"/>
                </a:lnTo>
                <a:lnTo>
                  <a:pt x="1798" y="1227"/>
                </a:lnTo>
                <a:lnTo>
                  <a:pt x="1786" y="1234"/>
                </a:lnTo>
                <a:lnTo>
                  <a:pt x="1775" y="1240"/>
                </a:lnTo>
                <a:lnTo>
                  <a:pt x="1765" y="1246"/>
                </a:lnTo>
                <a:lnTo>
                  <a:pt x="1758" y="1250"/>
                </a:lnTo>
                <a:lnTo>
                  <a:pt x="1752" y="1253"/>
                </a:lnTo>
                <a:lnTo>
                  <a:pt x="1748" y="1256"/>
                </a:lnTo>
                <a:lnTo>
                  <a:pt x="1745" y="1257"/>
                </a:lnTo>
                <a:lnTo>
                  <a:pt x="1744" y="1258"/>
                </a:lnTo>
                <a:lnTo>
                  <a:pt x="1744" y="1257"/>
                </a:lnTo>
                <a:lnTo>
                  <a:pt x="1741" y="1256"/>
                </a:lnTo>
                <a:lnTo>
                  <a:pt x="1737" y="1253"/>
                </a:lnTo>
                <a:lnTo>
                  <a:pt x="1731" y="1250"/>
                </a:lnTo>
                <a:lnTo>
                  <a:pt x="1723" y="1246"/>
                </a:lnTo>
                <a:lnTo>
                  <a:pt x="1714" y="1240"/>
                </a:lnTo>
                <a:lnTo>
                  <a:pt x="1703" y="1234"/>
                </a:lnTo>
                <a:lnTo>
                  <a:pt x="1690" y="1227"/>
                </a:lnTo>
                <a:lnTo>
                  <a:pt x="1676" y="1219"/>
                </a:lnTo>
                <a:lnTo>
                  <a:pt x="1660" y="1210"/>
                </a:lnTo>
                <a:lnTo>
                  <a:pt x="1642" y="1200"/>
                </a:lnTo>
                <a:lnTo>
                  <a:pt x="1623" y="1189"/>
                </a:lnTo>
                <a:lnTo>
                  <a:pt x="1602" y="1177"/>
                </a:lnTo>
                <a:lnTo>
                  <a:pt x="1579" y="1164"/>
                </a:lnTo>
                <a:lnTo>
                  <a:pt x="1555" y="1150"/>
                </a:lnTo>
                <a:lnTo>
                  <a:pt x="1529" y="1135"/>
                </a:lnTo>
                <a:lnTo>
                  <a:pt x="1503" y="1120"/>
                </a:lnTo>
                <a:lnTo>
                  <a:pt x="1478" y="1106"/>
                </a:lnTo>
                <a:lnTo>
                  <a:pt x="1455" y="1093"/>
                </a:lnTo>
                <a:lnTo>
                  <a:pt x="1434" y="1081"/>
                </a:lnTo>
                <a:lnTo>
                  <a:pt x="1415" y="1070"/>
                </a:lnTo>
                <a:lnTo>
                  <a:pt x="1397" y="1060"/>
                </a:lnTo>
                <a:lnTo>
                  <a:pt x="1381" y="1051"/>
                </a:lnTo>
                <a:lnTo>
                  <a:pt x="1367" y="1043"/>
                </a:lnTo>
                <a:lnTo>
                  <a:pt x="1354" y="1036"/>
                </a:lnTo>
                <a:lnTo>
                  <a:pt x="1343" y="1030"/>
                </a:lnTo>
                <a:lnTo>
                  <a:pt x="1334" y="1025"/>
                </a:lnTo>
                <a:lnTo>
                  <a:pt x="1326" y="1020"/>
                </a:lnTo>
                <a:lnTo>
                  <a:pt x="1320" y="1017"/>
                </a:lnTo>
                <a:lnTo>
                  <a:pt x="1316" y="1014"/>
                </a:lnTo>
                <a:lnTo>
                  <a:pt x="1314" y="1013"/>
                </a:lnTo>
                <a:lnTo>
                  <a:pt x="1313" y="1013"/>
                </a:lnTo>
                <a:lnTo>
                  <a:pt x="1314" y="1013"/>
                </a:lnTo>
                <a:lnTo>
                  <a:pt x="1315" y="1013"/>
                </a:lnTo>
                <a:lnTo>
                  <a:pt x="1317" y="1013"/>
                </a:lnTo>
                <a:lnTo>
                  <a:pt x="1320" y="1013"/>
                </a:lnTo>
                <a:lnTo>
                  <a:pt x="1323" y="1013"/>
                </a:lnTo>
                <a:lnTo>
                  <a:pt x="1327" y="1013"/>
                </a:lnTo>
                <a:lnTo>
                  <a:pt x="1331" y="1013"/>
                </a:lnTo>
                <a:lnTo>
                  <a:pt x="1336" y="1013"/>
                </a:lnTo>
                <a:lnTo>
                  <a:pt x="1341" y="1013"/>
                </a:lnTo>
                <a:lnTo>
                  <a:pt x="1347" y="1013"/>
                </a:lnTo>
                <a:lnTo>
                  <a:pt x="1354" y="1013"/>
                </a:lnTo>
                <a:lnTo>
                  <a:pt x="1361" y="1013"/>
                </a:lnTo>
                <a:lnTo>
                  <a:pt x="1369" y="1013"/>
                </a:lnTo>
                <a:lnTo>
                  <a:pt x="1377" y="1013"/>
                </a:lnTo>
                <a:lnTo>
                  <a:pt x="1386" y="1013"/>
                </a:lnTo>
                <a:lnTo>
                  <a:pt x="1395" y="1013"/>
                </a:lnTo>
                <a:lnTo>
                  <a:pt x="1403" y="1013"/>
                </a:lnTo>
                <a:lnTo>
                  <a:pt x="1411" y="1013"/>
                </a:lnTo>
                <a:lnTo>
                  <a:pt x="1418" y="1013"/>
                </a:lnTo>
                <a:lnTo>
                  <a:pt x="1424" y="1013"/>
                </a:lnTo>
                <a:lnTo>
                  <a:pt x="1430" y="1013"/>
                </a:lnTo>
                <a:lnTo>
                  <a:pt x="1436" y="1013"/>
                </a:lnTo>
                <a:lnTo>
                  <a:pt x="1440" y="1013"/>
                </a:lnTo>
                <a:lnTo>
                  <a:pt x="1445" y="1013"/>
                </a:lnTo>
                <a:lnTo>
                  <a:pt x="1448" y="1013"/>
                </a:lnTo>
                <a:lnTo>
                  <a:pt x="1452" y="1013"/>
                </a:lnTo>
                <a:lnTo>
                  <a:pt x="1454" y="1013"/>
                </a:lnTo>
                <a:lnTo>
                  <a:pt x="1456" y="1013"/>
                </a:lnTo>
                <a:lnTo>
                  <a:pt x="1458" y="1013"/>
                </a:lnTo>
                <a:lnTo>
                  <a:pt x="1459" y="1013"/>
                </a:lnTo>
                <a:lnTo>
                  <a:pt x="1459" y="1012"/>
                </a:lnTo>
                <a:lnTo>
                  <a:pt x="1459" y="1011"/>
                </a:lnTo>
                <a:lnTo>
                  <a:pt x="1459" y="1010"/>
                </a:lnTo>
                <a:lnTo>
                  <a:pt x="1459" y="1009"/>
                </a:lnTo>
                <a:lnTo>
                  <a:pt x="1459" y="1007"/>
                </a:lnTo>
                <a:lnTo>
                  <a:pt x="1459" y="1006"/>
                </a:lnTo>
                <a:lnTo>
                  <a:pt x="1458" y="1003"/>
                </a:lnTo>
                <a:lnTo>
                  <a:pt x="1458" y="1001"/>
                </a:lnTo>
                <a:lnTo>
                  <a:pt x="1458" y="998"/>
                </a:lnTo>
                <a:lnTo>
                  <a:pt x="1458" y="995"/>
                </a:lnTo>
                <a:lnTo>
                  <a:pt x="1458" y="992"/>
                </a:lnTo>
                <a:lnTo>
                  <a:pt x="1458" y="988"/>
                </a:lnTo>
                <a:lnTo>
                  <a:pt x="1458" y="985"/>
                </a:lnTo>
                <a:lnTo>
                  <a:pt x="1458" y="980"/>
                </a:lnTo>
                <a:lnTo>
                  <a:pt x="1458" y="976"/>
                </a:lnTo>
                <a:lnTo>
                  <a:pt x="1457" y="971"/>
                </a:lnTo>
                <a:lnTo>
                  <a:pt x="1457" y="966"/>
                </a:lnTo>
                <a:lnTo>
                  <a:pt x="1456" y="961"/>
                </a:lnTo>
                <a:lnTo>
                  <a:pt x="1456" y="955"/>
                </a:lnTo>
                <a:lnTo>
                  <a:pt x="1454" y="948"/>
                </a:lnTo>
                <a:lnTo>
                  <a:pt x="1453" y="942"/>
                </a:lnTo>
                <a:lnTo>
                  <a:pt x="1452" y="934"/>
                </a:lnTo>
                <a:lnTo>
                  <a:pt x="1450" y="927"/>
                </a:lnTo>
                <a:lnTo>
                  <a:pt x="1448" y="919"/>
                </a:lnTo>
                <a:lnTo>
                  <a:pt x="1446" y="911"/>
                </a:lnTo>
                <a:lnTo>
                  <a:pt x="1444" y="902"/>
                </a:lnTo>
                <a:lnTo>
                  <a:pt x="1441" y="893"/>
                </a:lnTo>
                <a:lnTo>
                  <a:pt x="1438" y="883"/>
                </a:lnTo>
                <a:lnTo>
                  <a:pt x="1435" y="873"/>
                </a:lnTo>
                <a:lnTo>
                  <a:pt x="1432" y="863"/>
                </a:lnTo>
                <a:lnTo>
                  <a:pt x="1429" y="853"/>
                </a:lnTo>
                <a:lnTo>
                  <a:pt x="1425" y="842"/>
                </a:lnTo>
                <a:lnTo>
                  <a:pt x="1421" y="831"/>
                </a:lnTo>
                <a:lnTo>
                  <a:pt x="1416" y="820"/>
                </a:lnTo>
                <a:lnTo>
                  <a:pt x="1411" y="809"/>
                </a:lnTo>
                <a:lnTo>
                  <a:pt x="1405" y="798"/>
                </a:lnTo>
                <a:lnTo>
                  <a:pt x="1398" y="787"/>
                </a:lnTo>
                <a:lnTo>
                  <a:pt x="1391" y="777"/>
                </a:lnTo>
                <a:lnTo>
                  <a:pt x="1384" y="766"/>
                </a:lnTo>
                <a:lnTo>
                  <a:pt x="1376" y="755"/>
                </a:lnTo>
                <a:lnTo>
                  <a:pt x="1368" y="744"/>
                </a:lnTo>
                <a:lnTo>
                  <a:pt x="1359" y="733"/>
                </a:lnTo>
                <a:lnTo>
                  <a:pt x="1349" y="723"/>
                </a:lnTo>
                <a:lnTo>
                  <a:pt x="1339" y="712"/>
                </a:lnTo>
                <a:lnTo>
                  <a:pt x="1329" y="701"/>
                </a:lnTo>
                <a:lnTo>
                  <a:pt x="1317" y="690"/>
                </a:lnTo>
                <a:lnTo>
                  <a:pt x="1306" y="680"/>
                </a:lnTo>
                <a:lnTo>
                  <a:pt x="1294" y="669"/>
                </a:lnTo>
                <a:lnTo>
                  <a:pt x="1282" y="659"/>
                </a:lnTo>
                <a:lnTo>
                  <a:pt x="1269" y="650"/>
                </a:lnTo>
                <a:lnTo>
                  <a:pt x="1256" y="641"/>
                </a:lnTo>
                <a:lnTo>
                  <a:pt x="1243" y="633"/>
                </a:lnTo>
                <a:lnTo>
                  <a:pt x="1229" y="625"/>
                </a:lnTo>
                <a:lnTo>
                  <a:pt x="1215" y="617"/>
                </a:lnTo>
                <a:lnTo>
                  <a:pt x="1201" y="611"/>
                </a:lnTo>
                <a:lnTo>
                  <a:pt x="1187" y="604"/>
                </a:lnTo>
                <a:lnTo>
                  <a:pt x="1172" y="599"/>
                </a:lnTo>
                <a:lnTo>
                  <a:pt x="1157" y="594"/>
                </a:lnTo>
                <a:lnTo>
                  <a:pt x="1142" y="589"/>
                </a:lnTo>
                <a:lnTo>
                  <a:pt x="1126" y="585"/>
                </a:lnTo>
                <a:lnTo>
                  <a:pt x="1110" y="581"/>
                </a:lnTo>
                <a:lnTo>
                  <a:pt x="1094" y="578"/>
                </a:lnTo>
                <a:lnTo>
                  <a:pt x="1077" y="576"/>
                </a:lnTo>
                <a:lnTo>
                  <a:pt x="1060" y="574"/>
                </a:lnTo>
                <a:lnTo>
                  <a:pt x="1044" y="572"/>
                </a:lnTo>
                <a:lnTo>
                  <a:pt x="1028" y="571"/>
                </a:lnTo>
                <a:lnTo>
                  <a:pt x="1012" y="571"/>
                </a:lnTo>
                <a:lnTo>
                  <a:pt x="997" y="571"/>
                </a:lnTo>
                <a:lnTo>
                  <a:pt x="981" y="571"/>
                </a:lnTo>
                <a:lnTo>
                  <a:pt x="966" y="572"/>
                </a:lnTo>
                <a:lnTo>
                  <a:pt x="951" y="574"/>
                </a:lnTo>
                <a:lnTo>
                  <a:pt x="937" y="576"/>
                </a:lnTo>
                <a:lnTo>
                  <a:pt x="923" y="578"/>
                </a:lnTo>
                <a:lnTo>
                  <a:pt x="909" y="581"/>
                </a:lnTo>
                <a:lnTo>
                  <a:pt x="895" y="584"/>
                </a:lnTo>
                <a:lnTo>
                  <a:pt x="881" y="588"/>
                </a:lnTo>
                <a:lnTo>
                  <a:pt x="868" y="592"/>
                </a:lnTo>
                <a:lnTo>
                  <a:pt x="855" y="597"/>
                </a:lnTo>
                <a:lnTo>
                  <a:pt x="842" y="603"/>
                </a:lnTo>
                <a:lnTo>
                  <a:pt x="830" y="608"/>
                </a:lnTo>
                <a:lnTo>
                  <a:pt x="818" y="614"/>
                </a:lnTo>
                <a:lnTo>
                  <a:pt x="806" y="620"/>
                </a:lnTo>
                <a:lnTo>
                  <a:pt x="795" y="626"/>
                </a:lnTo>
                <a:lnTo>
                  <a:pt x="784" y="632"/>
                </a:lnTo>
                <a:lnTo>
                  <a:pt x="773" y="638"/>
                </a:lnTo>
                <a:lnTo>
                  <a:pt x="763" y="645"/>
                </a:lnTo>
                <a:lnTo>
                  <a:pt x="753" y="651"/>
                </a:lnTo>
                <a:lnTo>
                  <a:pt x="743" y="658"/>
                </a:lnTo>
                <a:lnTo>
                  <a:pt x="734" y="665"/>
                </a:lnTo>
                <a:lnTo>
                  <a:pt x="725" y="672"/>
                </a:lnTo>
                <a:lnTo>
                  <a:pt x="716" y="679"/>
                </a:lnTo>
                <a:lnTo>
                  <a:pt x="708" y="687"/>
                </a:lnTo>
                <a:lnTo>
                  <a:pt x="700" y="694"/>
                </a:lnTo>
                <a:lnTo>
                  <a:pt x="693" y="702"/>
                </a:lnTo>
                <a:lnTo>
                  <a:pt x="685" y="709"/>
                </a:lnTo>
                <a:lnTo>
                  <a:pt x="679" y="717"/>
                </a:lnTo>
                <a:lnTo>
                  <a:pt x="672" y="725"/>
                </a:lnTo>
                <a:lnTo>
                  <a:pt x="666" y="732"/>
                </a:lnTo>
                <a:lnTo>
                  <a:pt x="660" y="740"/>
                </a:lnTo>
                <a:lnTo>
                  <a:pt x="654" y="747"/>
                </a:lnTo>
                <a:lnTo>
                  <a:pt x="648" y="755"/>
                </a:lnTo>
                <a:lnTo>
                  <a:pt x="643" y="762"/>
                </a:lnTo>
                <a:lnTo>
                  <a:pt x="638" y="769"/>
                </a:lnTo>
                <a:lnTo>
                  <a:pt x="633" y="776"/>
                </a:lnTo>
                <a:lnTo>
                  <a:pt x="629" y="783"/>
                </a:lnTo>
                <a:lnTo>
                  <a:pt x="625" y="790"/>
                </a:lnTo>
                <a:lnTo>
                  <a:pt x="621" y="797"/>
                </a:lnTo>
                <a:lnTo>
                  <a:pt x="617" y="804"/>
                </a:lnTo>
                <a:lnTo>
                  <a:pt x="614" y="811"/>
                </a:lnTo>
                <a:lnTo>
                  <a:pt x="610" y="817"/>
                </a:lnTo>
                <a:lnTo>
                  <a:pt x="608" y="824"/>
                </a:lnTo>
                <a:lnTo>
                  <a:pt x="605" y="830"/>
                </a:lnTo>
                <a:lnTo>
                  <a:pt x="602" y="836"/>
                </a:lnTo>
                <a:lnTo>
                  <a:pt x="600" y="842"/>
                </a:lnTo>
                <a:lnTo>
                  <a:pt x="598" y="847"/>
                </a:lnTo>
                <a:lnTo>
                  <a:pt x="596" y="851"/>
                </a:lnTo>
                <a:lnTo>
                  <a:pt x="594" y="856"/>
                </a:lnTo>
                <a:lnTo>
                  <a:pt x="593" y="860"/>
                </a:lnTo>
                <a:lnTo>
                  <a:pt x="591" y="863"/>
                </a:lnTo>
                <a:lnTo>
                  <a:pt x="590" y="866"/>
                </a:lnTo>
                <a:lnTo>
                  <a:pt x="589" y="869"/>
                </a:lnTo>
                <a:lnTo>
                  <a:pt x="588" y="871"/>
                </a:lnTo>
                <a:lnTo>
                  <a:pt x="587" y="873"/>
                </a:lnTo>
                <a:lnTo>
                  <a:pt x="586" y="874"/>
                </a:lnTo>
                <a:lnTo>
                  <a:pt x="586" y="875"/>
                </a:lnTo>
                <a:lnTo>
                  <a:pt x="586" y="876"/>
                </a:lnTo>
                <a:lnTo>
                  <a:pt x="585" y="876"/>
                </a:lnTo>
                <a:lnTo>
                  <a:pt x="583" y="875"/>
                </a:lnTo>
                <a:lnTo>
                  <a:pt x="580" y="873"/>
                </a:lnTo>
                <a:lnTo>
                  <a:pt x="576" y="871"/>
                </a:lnTo>
                <a:lnTo>
                  <a:pt x="570" y="868"/>
                </a:lnTo>
                <a:lnTo>
                  <a:pt x="564" y="864"/>
                </a:lnTo>
                <a:lnTo>
                  <a:pt x="556" y="860"/>
                </a:lnTo>
                <a:lnTo>
                  <a:pt x="547" y="854"/>
                </a:lnTo>
                <a:lnTo>
                  <a:pt x="537" y="849"/>
                </a:lnTo>
                <a:lnTo>
                  <a:pt x="525" y="842"/>
                </a:lnTo>
                <a:lnTo>
                  <a:pt x="512" y="835"/>
                </a:lnTo>
                <a:lnTo>
                  <a:pt x="498" y="827"/>
                </a:lnTo>
                <a:lnTo>
                  <a:pt x="483" y="819"/>
                </a:lnTo>
                <a:lnTo>
                  <a:pt x="467" y="810"/>
                </a:lnTo>
                <a:lnTo>
                  <a:pt x="449" y="800"/>
                </a:lnTo>
                <a:lnTo>
                  <a:pt x="431" y="789"/>
                </a:lnTo>
                <a:lnTo>
                  <a:pt x="412" y="779"/>
                </a:lnTo>
                <a:lnTo>
                  <a:pt x="394" y="769"/>
                </a:lnTo>
                <a:lnTo>
                  <a:pt x="378" y="760"/>
                </a:lnTo>
                <a:lnTo>
                  <a:pt x="363" y="751"/>
                </a:lnTo>
                <a:lnTo>
                  <a:pt x="349" y="743"/>
                </a:lnTo>
                <a:lnTo>
                  <a:pt x="336" y="736"/>
                </a:lnTo>
                <a:lnTo>
                  <a:pt x="325" y="730"/>
                </a:lnTo>
                <a:lnTo>
                  <a:pt x="315" y="724"/>
                </a:lnTo>
                <a:lnTo>
                  <a:pt x="306" y="719"/>
                </a:lnTo>
                <a:lnTo>
                  <a:pt x="298" y="715"/>
                </a:lnTo>
                <a:lnTo>
                  <a:pt x="291" y="711"/>
                </a:lnTo>
                <a:lnTo>
                  <a:pt x="286" y="708"/>
                </a:lnTo>
                <a:lnTo>
                  <a:pt x="281" y="705"/>
                </a:lnTo>
                <a:lnTo>
                  <a:pt x="278" y="704"/>
                </a:lnTo>
                <a:lnTo>
                  <a:pt x="276" y="703"/>
                </a:lnTo>
                <a:lnTo>
                  <a:pt x="276" y="702"/>
                </a:lnTo>
                <a:lnTo>
                  <a:pt x="275" y="703"/>
                </a:lnTo>
                <a:lnTo>
                  <a:pt x="274" y="704"/>
                </a:lnTo>
                <a:lnTo>
                  <a:pt x="271" y="705"/>
                </a:lnTo>
                <a:lnTo>
                  <a:pt x="267" y="707"/>
                </a:lnTo>
                <a:lnTo>
                  <a:pt x="262" y="710"/>
                </a:lnTo>
                <a:lnTo>
                  <a:pt x="256" y="713"/>
                </a:lnTo>
                <a:lnTo>
                  <a:pt x="249" y="717"/>
                </a:lnTo>
                <a:lnTo>
                  <a:pt x="241" y="722"/>
                </a:lnTo>
                <a:lnTo>
                  <a:pt x="232" y="727"/>
                </a:lnTo>
                <a:lnTo>
                  <a:pt x="222" y="733"/>
                </a:lnTo>
                <a:lnTo>
                  <a:pt x="211" y="739"/>
                </a:lnTo>
                <a:lnTo>
                  <a:pt x="198" y="746"/>
                </a:lnTo>
                <a:lnTo>
                  <a:pt x="185" y="754"/>
                </a:lnTo>
                <a:lnTo>
                  <a:pt x="170" y="762"/>
                </a:lnTo>
                <a:lnTo>
                  <a:pt x="155" y="771"/>
                </a:lnTo>
                <a:lnTo>
                  <a:pt x="138" y="780"/>
                </a:lnTo>
                <a:lnTo>
                  <a:pt x="121" y="790"/>
                </a:lnTo>
                <a:lnTo>
                  <a:pt x="106" y="799"/>
                </a:lnTo>
                <a:lnTo>
                  <a:pt x="91" y="807"/>
                </a:lnTo>
                <a:lnTo>
                  <a:pt x="78" y="815"/>
                </a:lnTo>
                <a:lnTo>
                  <a:pt x="65" y="822"/>
                </a:lnTo>
                <a:lnTo>
                  <a:pt x="54" y="828"/>
                </a:lnTo>
                <a:lnTo>
                  <a:pt x="44" y="834"/>
                </a:lnTo>
                <a:lnTo>
                  <a:pt x="35" y="839"/>
                </a:lnTo>
                <a:lnTo>
                  <a:pt x="27" y="844"/>
                </a:lnTo>
                <a:lnTo>
                  <a:pt x="20" y="847"/>
                </a:lnTo>
                <a:lnTo>
                  <a:pt x="14" y="851"/>
                </a:lnTo>
                <a:lnTo>
                  <a:pt x="9" y="854"/>
                </a:lnTo>
                <a:lnTo>
                  <a:pt x="5" y="856"/>
                </a:lnTo>
                <a:lnTo>
                  <a:pt x="2" y="857"/>
                </a:lnTo>
                <a:lnTo>
                  <a:pt x="1" y="858"/>
                </a:lnTo>
                <a:lnTo>
                  <a:pt x="0" y="858"/>
                </a:lnTo>
                <a:lnTo>
                  <a:pt x="0" y="856"/>
                </a:lnTo>
                <a:lnTo>
                  <a:pt x="1" y="855"/>
                </a:lnTo>
                <a:lnTo>
                  <a:pt x="1" y="853"/>
                </a:lnTo>
                <a:lnTo>
                  <a:pt x="2" y="850"/>
                </a:lnTo>
                <a:lnTo>
                  <a:pt x="2" y="847"/>
                </a:lnTo>
                <a:lnTo>
                  <a:pt x="3" y="844"/>
                </a:lnTo>
                <a:lnTo>
                  <a:pt x="3" y="840"/>
                </a:lnTo>
                <a:lnTo>
                  <a:pt x="4" y="836"/>
                </a:lnTo>
                <a:lnTo>
                  <a:pt x="5" y="831"/>
                </a:lnTo>
                <a:lnTo>
                  <a:pt x="6" y="826"/>
                </a:lnTo>
                <a:lnTo>
                  <a:pt x="7" y="821"/>
                </a:lnTo>
                <a:lnTo>
                  <a:pt x="8" y="815"/>
                </a:lnTo>
                <a:lnTo>
                  <a:pt x="9" y="808"/>
                </a:lnTo>
                <a:lnTo>
                  <a:pt x="10" y="801"/>
                </a:lnTo>
                <a:lnTo>
                  <a:pt x="12" y="794"/>
                </a:lnTo>
                <a:lnTo>
                  <a:pt x="13" y="786"/>
                </a:lnTo>
                <a:lnTo>
                  <a:pt x="15" y="778"/>
                </a:lnTo>
                <a:lnTo>
                  <a:pt x="17" y="769"/>
                </a:lnTo>
                <a:lnTo>
                  <a:pt x="20" y="760"/>
                </a:lnTo>
                <a:lnTo>
                  <a:pt x="22" y="751"/>
                </a:lnTo>
                <a:lnTo>
                  <a:pt x="25" y="741"/>
                </a:lnTo>
                <a:lnTo>
                  <a:pt x="28" y="730"/>
                </a:lnTo>
                <a:lnTo>
                  <a:pt x="32" y="719"/>
                </a:lnTo>
                <a:lnTo>
                  <a:pt x="35" y="708"/>
                </a:lnTo>
                <a:lnTo>
                  <a:pt x="39" y="697"/>
                </a:lnTo>
                <a:lnTo>
                  <a:pt x="44" y="685"/>
                </a:lnTo>
                <a:lnTo>
                  <a:pt x="48" y="672"/>
                </a:lnTo>
                <a:lnTo>
                  <a:pt x="53" y="659"/>
                </a:lnTo>
                <a:lnTo>
                  <a:pt x="58" y="646"/>
                </a:lnTo>
                <a:lnTo>
                  <a:pt x="63" y="632"/>
                </a:lnTo>
                <a:lnTo>
                  <a:pt x="69" y="618"/>
                </a:lnTo>
                <a:lnTo>
                  <a:pt x="75" y="604"/>
                </a:lnTo>
                <a:lnTo>
                  <a:pt x="81" y="590"/>
                </a:lnTo>
                <a:lnTo>
                  <a:pt x="88" y="575"/>
                </a:lnTo>
                <a:lnTo>
                  <a:pt x="96" y="560"/>
                </a:lnTo>
                <a:lnTo>
                  <a:pt x="104" y="546"/>
                </a:lnTo>
                <a:lnTo>
                  <a:pt x="112" y="531"/>
                </a:lnTo>
                <a:lnTo>
                  <a:pt x="121" y="515"/>
                </a:lnTo>
                <a:lnTo>
                  <a:pt x="130" y="500"/>
                </a:lnTo>
                <a:lnTo>
                  <a:pt x="140" y="485"/>
                </a:lnTo>
                <a:lnTo>
                  <a:pt x="150" y="469"/>
                </a:lnTo>
                <a:lnTo>
                  <a:pt x="161" y="453"/>
                </a:lnTo>
                <a:lnTo>
                  <a:pt x="172" y="437"/>
                </a:lnTo>
                <a:lnTo>
                  <a:pt x="184" y="421"/>
                </a:lnTo>
                <a:lnTo>
                  <a:pt x="196" y="405"/>
                </a:lnTo>
                <a:lnTo>
                  <a:pt x="209" y="388"/>
                </a:lnTo>
                <a:lnTo>
                  <a:pt x="222" y="372"/>
                </a:lnTo>
                <a:lnTo>
                  <a:pt x="235" y="356"/>
                </a:lnTo>
                <a:lnTo>
                  <a:pt x="249" y="340"/>
                </a:lnTo>
                <a:lnTo>
                  <a:pt x="263" y="324"/>
                </a:lnTo>
                <a:lnTo>
                  <a:pt x="278" y="309"/>
                </a:lnTo>
                <a:lnTo>
                  <a:pt x="293" y="294"/>
                </a:lnTo>
                <a:lnTo>
                  <a:pt x="308" y="279"/>
                </a:lnTo>
                <a:lnTo>
                  <a:pt x="324" y="264"/>
                </a:lnTo>
                <a:lnTo>
                  <a:pt x="340" y="250"/>
                </a:lnTo>
                <a:lnTo>
                  <a:pt x="357" y="236"/>
                </a:lnTo>
                <a:lnTo>
                  <a:pt x="374" y="222"/>
                </a:lnTo>
                <a:lnTo>
                  <a:pt x="391" y="209"/>
                </a:lnTo>
                <a:lnTo>
                  <a:pt x="408" y="196"/>
                </a:lnTo>
                <a:lnTo>
                  <a:pt x="426" y="183"/>
                </a:lnTo>
                <a:lnTo>
                  <a:pt x="445" y="170"/>
                </a:lnTo>
                <a:lnTo>
                  <a:pt x="464" y="158"/>
                </a:lnTo>
                <a:lnTo>
                  <a:pt x="483" y="146"/>
                </a:lnTo>
                <a:lnTo>
                  <a:pt x="502" y="134"/>
                </a:lnTo>
                <a:lnTo>
                  <a:pt x="522" y="123"/>
                </a:lnTo>
                <a:lnTo>
                  <a:pt x="543" y="113"/>
                </a:lnTo>
                <a:lnTo>
                  <a:pt x="563" y="102"/>
                </a:lnTo>
                <a:lnTo>
                  <a:pt x="584" y="93"/>
                </a:lnTo>
                <a:lnTo>
                  <a:pt x="606" y="83"/>
                </a:lnTo>
                <a:lnTo>
                  <a:pt x="627" y="74"/>
                </a:lnTo>
                <a:lnTo>
                  <a:pt x="649" y="66"/>
                </a:lnTo>
                <a:lnTo>
                  <a:pt x="672" y="58"/>
                </a:lnTo>
                <a:lnTo>
                  <a:pt x="695" y="50"/>
                </a:lnTo>
                <a:lnTo>
                  <a:pt x="718" y="43"/>
                </a:lnTo>
                <a:lnTo>
                  <a:pt x="741" y="36"/>
                </a:lnTo>
                <a:lnTo>
                  <a:pt x="765" y="30"/>
                </a:lnTo>
                <a:lnTo>
                  <a:pt x="790" y="24"/>
                </a:lnTo>
                <a:lnTo>
                  <a:pt x="814" y="19"/>
                </a:lnTo>
                <a:lnTo>
                  <a:pt x="839" y="14"/>
                </a:lnTo>
                <a:lnTo>
                  <a:pt x="864" y="10"/>
                </a:lnTo>
                <a:lnTo>
                  <a:pt x="890" y="6"/>
                </a:lnTo>
                <a:lnTo>
                  <a:pt x="915" y="4"/>
                </a:lnTo>
                <a:lnTo>
                  <a:pt x="941" y="2"/>
                </a:lnTo>
                <a:lnTo>
                  <a:pt x="967" y="1"/>
                </a:lnTo>
                <a:lnTo>
                  <a:pt x="994" y="0"/>
                </a:lnTo>
                <a:lnTo>
                  <a:pt x="1020" y="0"/>
                </a:lnTo>
                <a:lnTo>
                  <a:pt x="1047" y="1"/>
                </a:lnTo>
                <a:lnTo>
                  <a:pt x="1074" y="3"/>
                </a:lnTo>
                <a:lnTo>
                  <a:pt x="1101" y="6"/>
                </a:lnTo>
                <a:lnTo>
                  <a:pt x="1128" y="9"/>
                </a:lnTo>
                <a:lnTo>
                  <a:pt x="1156" y="13"/>
                </a:lnTo>
                <a:lnTo>
                  <a:pt x="1184" y="17"/>
                </a:lnTo>
                <a:lnTo>
                  <a:pt x="1212" y="22"/>
                </a:lnTo>
                <a:lnTo>
                  <a:pt x="1240" y="29"/>
                </a:lnTo>
                <a:lnTo>
                  <a:pt x="1268" y="35"/>
                </a:lnTo>
                <a:lnTo>
                  <a:pt x="1296" y="43"/>
                </a:lnTo>
                <a:lnTo>
                  <a:pt x="1323" y="51"/>
                </a:lnTo>
                <a:lnTo>
                  <a:pt x="1350" y="60"/>
                </a:lnTo>
                <a:lnTo>
                  <a:pt x="1377" y="70"/>
                </a:lnTo>
                <a:lnTo>
                  <a:pt x="1403" y="80"/>
                </a:lnTo>
                <a:lnTo>
                  <a:pt x="1429" y="91"/>
                </a:lnTo>
                <a:lnTo>
                  <a:pt x="1455" y="103"/>
                </a:lnTo>
                <a:lnTo>
                  <a:pt x="1480" y="115"/>
                </a:lnTo>
                <a:lnTo>
                  <a:pt x="1505" y="128"/>
                </a:lnTo>
                <a:lnTo>
                  <a:pt x="1530" y="142"/>
                </a:lnTo>
                <a:lnTo>
                  <a:pt x="1554" y="157"/>
                </a:lnTo>
                <a:lnTo>
                  <a:pt x="1577" y="172"/>
                </a:lnTo>
                <a:lnTo>
                  <a:pt x="1601" y="188"/>
                </a:lnTo>
                <a:lnTo>
                  <a:pt x="1624" y="205"/>
                </a:lnTo>
                <a:lnTo>
                  <a:pt x="1647" y="222"/>
                </a:lnTo>
                <a:lnTo>
                  <a:pt x="1669" y="240"/>
                </a:lnTo>
                <a:lnTo>
                  <a:pt x="1690" y="258"/>
                </a:lnTo>
                <a:lnTo>
                  <a:pt x="1711" y="277"/>
                </a:lnTo>
                <a:lnTo>
                  <a:pt x="1731" y="296"/>
                </a:lnTo>
                <a:lnTo>
                  <a:pt x="1750" y="315"/>
                </a:lnTo>
                <a:lnTo>
                  <a:pt x="1769" y="334"/>
                </a:lnTo>
                <a:lnTo>
                  <a:pt x="1787" y="353"/>
                </a:lnTo>
                <a:lnTo>
                  <a:pt x="1804" y="373"/>
                </a:lnTo>
                <a:lnTo>
                  <a:pt x="1821" y="393"/>
                </a:lnTo>
                <a:lnTo>
                  <a:pt x="1837" y="414"/>
                </a:lnTo>
                <a:lnTo>
                  <a:pt x="1852" y="435"/>
                </a:lnTo>
                <a:lnTo>
                  <a:pt x="1867" y="456"/>
                </a:lnTo>
                <a:lnTo>
                  <a:pt x="1881" y="477"/>
                </a:lnTo>
                <a:lnTo>
                  <a:pt x="1894" y="498"/>
                </a:lnTo>
                <a:lnTo>
                  <a:pt x="1906" y="520"/>
                </a:lnTo>
                <a:lnTo>
                  <a:pt x="1918" y="542"/>
                </a:lnTo>
                <a:lnTo>
                  <a:pt x="1929" y="564"/>
                </a:lnTo>
                <a:lnTo>
                  <a:pt x="1940" y="586"/>
                </a:lnTo>
                <a:lnTo>
                  <a:pt x="1950" y="608"/>
                </a:lnTo>
                <a:lnTo>
                  <a:pt x="1959" y="629"/>
                </a:lnTo>
                <a:lnTo>
                  <a:pt x="1968" y="650"/>
                </a:lnTo>
                <a:lnTo>
                  <a:pt x="1976" y="671"/>
                </a:lnTo>
                <a:lnTo>
                  <a:pt x="1983" y="692"/>
                </a:lnTo>
                <a:lnTo>
                  <a:pt x="1990" y="712"/>
                </a:lnTo>
                <a:lnTo>
                  <a:pt x="1996" y="732"/>
                </a:lnTo>
                <a:lnTo>
                  <a:pt x="2002" y="752"/>
                </a:lnTo>
                <a:lnTo>
                  <a:pt x="2007" y="772"/>
                </a:lnTo>
                <a:lnTo>
                  <a:pt x="2011" y="791"/>
                </a:lnTo>
                <a:lnTo>
                  <a:pt x="2015" y="810"/>
                </a:lnTo>
                <a:lnTo>
                  <a:pt x="2018" y="829"/>
                </a:lnTo>
                <a:lnTo>
                  <a:pt x="2020" y="848"/>
                </a:lnTo>
                <a:lnTo>
                  <a:pt x="2022" y="866"/>
                </a:lnTo>
                <a:lnTo>
                  <a:pt x="2024" y="884"/>
                </a:lnTo>
                <a:lnTo>
                  <a:pt x="2025" y="901"/>
                </a:lnTo>
                <a:lnTo>
                  <a:pt x="2026" y="916"/>
                </a:lnTo>
                <a:lnTo>
                  <a:pt x="2027" y="930"/>
                </a:lnTo>
                <a:lnTo>
                  <a:pt x="2028" y="943"/>
                </a:lnTo>
                <a:lnTo>
                  <a:pt x="2029" y="955"/>
                </a:lnTo>
                <a:lnTo>
                  <a:pt x="2030" y="966"/>
                </a:lnTo>
                <a:lnTo>
                  <a:pt x="2031" y="976"/>
                </a:lnTo>
                <a:lnTo>
                  <a:pt x="2032" y="985"/>
                </a:lnTo>
                <a:lnTo>
                  <a:pt x="2032" y="992"/>
                </a:lnTo>
                <a:lnTo>
                  <a:pt x="2033" y="998"/>
                </a:lnTo>
                <a:lnTo>
                  <a:pt x="2033" y="1003"/>
                </a:lnTo>
                <a:lnTo>
                  <a:pt x="2034" y="1007"/>
                </a:lnTo>
                <a:lnTo>
                  <a:pt x="2034" y="1010"/>
                </a:lnTo>
                <a:lnTo>
                  <a:pt x="2034" y="1012"/>
                </a:lnTo>
                <a:lnTo>
                  <a:pt x="2034" y="1013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9" name="Freeform 3"/>
          <p:cNvSpPr>
            <a:spLocks/>
          </p:cNvSpPr>
          <p:nvPr/>
        </p:nvSpPr>
        <p:spPr bwMode="auto">
          <a:xfrm>
            <a:off x="2508596" y="3143524"/>
            <a:ext cx="3852863" cy="2224088"/>
          </a:xfrm>
          <a:custGeom>
            <a:avLst/>
            <a:gdLst>
              <a:gd name="T0" fmla="*/ 2147483647 w 2181"/>
              <a:gd name="T1" fmla="*/ 870676455 h 1259"/>
              <a:gd name="T2" fmla="*/ 2147483647 w 2181"/>
              <a:gd name="T3" fmla="*/ 773934848 h 1259"/>
              <a:gd name="T4" fmla="*/ 2147483647 w 2181"/>
              <a:gd name="T5" fmla="*/ 764572130 h 1259"/>
              <a:gd name="T6" fmla="*/ 2147483647 w 2181"/>
              <a:gd name="T7" fmla="*/ 764572130 h 1259"/>
              <a:gd name="T8" fmla="*/ 2147483647 w 2181"/>
              <a:gd name="T9" fmla="*/ 764572130 h 1259"/>
              <a:gd name="T10" fmla="*/ 2147483647 w 2181"/>
              <a:gd name="T11" fmla="*/ 764572130 h 1259"/>
              <a:gd name="T12" fmla="*/ 2147483647 w 2181"/>
              <a:gd name="T13" fmla="*/ 764572130 h 1259"/>
              <a:gd name="T14" fmla="*/ 2147483647 w 2181"/>
              <a:gd name="T15" fmla="*/ 692795415 h 1259"/>
              <a:gd name="T16" fmla="*/ 2147483647 w 2181"/>
              <a:gd name="T17" fmla="*/ 474347307 h 1259"/>
              <a:gd name="T18" fmla="*/ 1663346547 w 2181"/>
              <a:gd name="T19" fmla="*/ 181000824 h 1259"/>
              <a:gd name="T20" fmla="*/ 1388722862 w 2181"/>
              <a:gd name="T21" fmla="*/ 24964899 h 1259"/>
              <a:gd name="T22" fmla="*/ 1323187123 w 2181"/>
              <a:gd name="T23" fmla="*/ 15603948 h 1259"/>
              <a:gd name="T24" fmla="*/ 1082892945 w 2181"/>
              <a:gd name="T25" fmla="*/ 149792942 h 1259"/>
              <a:gd name="T26" fmla="*/ 592938082 w 2181"/>
              <a:gd name="T27" fmla="*/ 430656869 h 1259"/>
              <a:gd name="T28" fmla="*/ 168519014 w 2181"/>
              <a:gd name="T29" fmla="*/ 670950251 h 1259"/>
              <a:gd name="T30" fmla="*/ 3121507 w 2181"/>
              <a:gd name="T31" fmla="*/ 764572130 h 1259"/>
              <a:gd name="T32" fmla="*/ 31208013 w 2181"/>
              <a:gd name="T33" fmla="*/ 764572130 h 1259"/>
              <a:gd name="T34" fmla="*/ 146673767 w 2181"/>
              <a:gd name="T35" fmla="*/ 764572130 h 1259"/>
              <a:gd name="T36" fmla="*/ 321434028 w 2181"/>
              <a:gd name="T37" fmla="*/ 764572130 h 1259"/>
              <a:gd name="T38" fmla="*/ 427538753 w 2181"/>
              <a:gd name="T39" fmla="*/ 764572130 h 1259"/>
              <a:gd name="T40" fmla="*/ 449384000 w 2181"/>
              <a:gd name="T41" fmla="*/ 770813353 h 1259"/>
              <a:gd name="T42" fmla="*/ 458746753 w 2181"/>
              <a:gd name="T43" fmla="*/ 898762842 h 1259"/>
              <a:gd name="T44" fmla="*/ 477470603 w 2181"/>
              <a:gd name="T45" fmla="*/ 1188987886 h 1259"/>
              <a:gd name="T46" fmla="*/ 561730082 w 2181"/>
              <a:gd name="T47" fmla="*/ 1604040703 h 1259"/>
              <a:gd name="T48" fmla="*/ 764578547 w 2181"/>
              <a:gd name="T49" fmla="*/ 2112715842 h 1259"/>
              <a:gd name="T50" fmla="*/ 1092253932 w 2181"/>
              <a:gd name="T51" fmla="*/ 2147483647 h 1259"/>
              <a:gd name="T52" fmla="*/ 1557241821 w 2181"/>
              <a:gd name="T53" fmla="*/ 2147483647 h 1259"/>
              <a:gd name="T54" fmla="*/ 2147060384 w 2181"/>
              <a:gd name="T55" fmla="*/ 2147483647 h 1259"/>
              <a:gd name="T56" fmla="*/ 2147483647 w 2181"/>
              <a:gd name="T57" fmla="*/ 2147483647 h 1259"/>
              <a:gd name="T58" fmla="*/ 2147483647 w 2181"/>
              <a:gd name="T59" fmla="*/ 2147483647 h 1259"/>
              <a:gd name="T60" fmla="*/ 2147483647 w 2181"/>
              <a:gd name="T61" fmla="*/ 2147483647 h 1259"/>
              <a:gd name="T62" fmla="*/ 2147483647 w 2181"/>
              <a:gd name="T63" fmla="*/ 2147483647 h 1259"/>
              <a:gd name="T64" fmla="*/ 2147483647 w 2181"/>
              <a:gd name="T65" fmla="*/ 2147483647 h 1259"/>
              <a:gd name="T66" fmla="*/ 2147483647 w 2181"/>
              <a:gd name="T67" fmla="*/ 2147483647 h 1259"/>
              <a:gd name="T68" fmla="*/ 2147483647 w 2181"/>
              <a:gd name="T69" fmla="*/ 2147483647 h 1259"/>
              <a:gd name="T70" fmla="*/ 2147483647 w 2181"/>
              <a:gd name="T71" fmla="*/ 2015974234 h 1259"/>
              <a:gd name="T72" fmla="*/ 2147483647 w 2181"/>
              <a:gd name="T73" fmla="*/ 1597799480 h 1259"/>
              <a:gd name="T74" fmla="*/ 2147483647 w 2181"/>
              <a:gd name="T75" fmla="*/ 1326298327 h 1259"/>
              <a:gd name="T76" fmla="*/ 2147483647 w 2181"/>
              <a:gd name="T77" fmla="*/ 1235797942 h 1259"/>
              <a:gd name="T78" fmla="*/ 2147483647 w 2181"/>
              <a:gd name="T79" fmla="*/ 1282607999 h 1259"/>
              <a:gd name="T80" fmla="*/ 2147483647 w 2181"/>
              <a:gd name="T81" fmla="*/ 1426161429 h 1259"/>
              <a:gd name="T82" fmla="*/ 2147483647 w 2181"/>
              <a:gd name="T83" fmla="*/ 1616524916 h 1259"/>
              <a:gd name="T84" fmla="*/ 2147483647 w 2181"/>
              <a:gd name="T85" fmla="*/ 1719507747 h 1259"/>
              <a:gd name="T86" fmla="*/ 2147483647 w 2181"/>
              <a:gd name="T87" fmla="*/ 1725748970 h 1259"/>
              <a:gd name="T88" fmla="*/ 2147483647 w 2181"/>
              <a:gd name="T89" fmla="*/ 1625885867 h 1259"/>
              <a:gd name="T90" fmla="*/ 2147483647 w 2181"/>
              <a:gd name="T91" fmla="*/ 1426161429 h 1259"/>
              <a:gd name="T92" fmla="*/ 2147483647 w 2181"/>
              <a:gd name="T93" fmla="*/ 1254523378 h 1259"/>
              <a:gd name="T94" fmla="*/ 2147483647 w 2181"/>
              <a:gd name="T95" fmla="*/ 1185866391 h 1259"/>
              <a:gd name="T96" fmla="*/ 2147483647 w 2181"/>
              <a:gd name="T97" fmla="*/ 1220194001 h 1259"/>
              <a:gd name="T98" fmla="*/ 2147483647 w 2181"/>
              <a:gd name="T99" fmla="*/ 1351264986 h 1259"/>
              <a:gd name="T100" fmla="*/ 2147483647 w 2181"/>
              <a:gd name="T101" fmla="*/ 1560350375 h 1259"/>
              <a:gd name="T102" fmla="*/ 2147483647 w 2181"/>
              <a:gd name="T103" fmla="*/ 1781921744 h 1259"/>
              <a:gd name="T104" fmla="*/ 2147483647 w 2181"/>
              <a:gd name="T105" fmla="*/ 2003491788 h 1259"/>
              <a:gd name="T106" fmla="*/ 2147483647 w 2181"/>
              <a:gd name="T107" fmla="*/ 2125198288 h 1259"/>
              <a:gd name="T108" fmla="*/ 2147483647 w 2181"/>
              <a:gd name="T109" fmla="*/ 2118957065 h 1259"/>
              <a:gd name="T110" fmla="*/ 2147483647 w 2181"/>
              <a:gd name="T111" fmla="*/ 1991009342 h 1259"/>
              <a:gd name="T112" fmla="*/ 2147483647 w 2181"/>
              <a:gd name="T113" fmla="*/ 1756955085 h 1259"/>
              <a:gd name="T114" fmla="*/ 2147483647 w 2181"/>
              <a:gd name="T115" fmla="*/ 1448006593 h 1259"/>
              <a:gd name="T116" fmla="*/ 2147483647 w 2181"/>
              <a:gd name="T117" fmla="*/ 1173383945 h 125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81"/>
              <a:gd name="T178" fmla="*/ 0 h 1259"/>
              <a:gd name="T179" fmla="*/ 2181 w 2181"/>
              <a:gd name="T180" fmla="*/ 1259 h 125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81" h="1259">
                <a:moveTo>
                  <a:pt x="729" y="331"/>
                </a:moveTo>
                <a:lnTo>
                  <a:pt x="728" y="321"/>
                </a:lnTo>
                <a:lnTo>
                  <a:pt x="727" y="311"/>
                </a:lnTo>
                <a:lnTo>
                  <a:pt x="726" y="302"/>
                </a:lnTo>
                <a:lnTo>
                  <a:pt x="725" y="294"/>
                </a:lnTo>
                <a:lnTo>
                  <a:pt x="724" y="286"/>
                </a:lnTo>
                <a:lnTo>
                  <a:pt x="723" y="279"/>
                </a:lnTo>
                <a:lnTo>
                  <a:pt x="722" y="273"/>
                </a:lnTo>
                <a:lnTo>
                  <a:pt x="722" y="267"/>
                </a:lnTo>
                <a:lnTo>
                  <a:pt x="721" y="262"/>
                </a:lnTo>
                <a:lnTo>
                  <a:pt x="721" y="257"/>
                </a:lnTo>
                <a:lnTo>
                  <a:pt x="720" y="254"/>
                </a:lnTo>
                <a:lnTo>
                  <a:pt x="720" y="251"/>
                </a:lnTo>
                <a:lnTo>
                  <a:pt x="720" y="248"/>
                </a:lnTo>
                <a:lnTo>
                  <a:pt x="719" y="247"/>
                </a:lnTo>
                <a:lnTo>
                  <a:pt x="719" y="246"/>
                </a:lnTo>
                <a:lnTo>
                  <a:pt x="719" y="245"/>
                </a:lnTo>
                <a:lnTo>
                  <a:pt x="720" y="245"/>
                </a:lnTo>
                <a:lnTo>
                  <a:pt x="722" y="245"/>
                </a:lnTo>
                <a:lnTo>
                  <a:pt x="724" y="245"/>
                </a:lnTo>
                <a:lnTo>
                  <a:pt x="726" y="245"/>
                </a:lnTo>
                <a:lnTo>
                  <a:pt x="729" y="245"/>
                </a:lnTo>
                <a:lnTo>
                  <a:pt x="733" y="245"/>
                </a:lnTo>
                <a:lnTo>
                  <a:pt x="737" y="245"/>
                </a:lnTo>
                <a:lnTo>
                  <a:pt x="742" y="245"/>
                </a:lnTo>
                <a:lnTo>
                  <a:pt x="747" y="245"/>
                </a:lnTo>
                <a:lnTo>
                  <a:pt x="753" y="245"/>
                </a:lnTo>
                <a:lnTo>
                  <a:pt x="759" y="245"/>
                </a:lnTo>
                <a:lnTo>
                  <a:pt x="766" y="245"/>
                </a:lnTo>
                <a:lnTo>
                  <a:pt x="774" y="245"/>
                </a:lnTo>
                <a:lnTo>
                  <a:pt x="782" y="245"/>
                </a:lnTo>
                <a:lnTo>
                  <a:pt x="790" y="245"/>
                </a:lnTo>
                <a:lnTo>
                  <a:pt x="799" y="245"/>
                </a:lnTo>
                <a:lnTo>
                  <a:pt x="807" y="245"/>
                </a:lnTo>
                <a:lnTo>
                  <a:pt x="814" y="245"/>
                </a:lnTo>
                <a:lnTo>
                  <a:pt x="821" y="245"/>
                </a:lnTo>
                <a:lnTo>
                  <a:pt x="828" y="245"/>
                </a:lnTo>
                <a:lnTo>
                  <a:pt x="833" y="245"/>
                </a:lnTo>
                <a:lnTo>
                  <a:pt x="839" y="245"/>
                </a:lnTo>
                <a:lnTo>
                  <a:pt x="843" y="245"/>
                </a:lnTo>
                <a:lnTo>
                  <a:pt x="848" y="245"/>
                </a:lnTo>
                <a:lnTo>
                  <a:pt x="851" y="245"/>
                </a:lnTo>
                <a:lnTo>
                  <a:pt x="854" y="245"/>
                </a:lnTo>
                <a:lnTo>
                  <a:pt x="857" y="245"/>
                </a:lnTo>
                <a:lnTo>
                  <a:pt x="859" y="245"/>
                </a:lnTo>
                <a:lnTo>
                  <a:pt x="860" y="245"/>
                </a:lnTo>
                <a:lnTo>
                  <a:pt x="861" y="245"/>
                </a:lnTo>
                <a:lnTo>
                  <a:pt x="860" y="245"/>
                </a:lnTo>
                <a:lnTo>
                  <a:pt x="858" y="243"/>
                </a:lnTo>
                <a:lnTo>
                  <a:pt x="854" y="241"/>
                </a:lnTo>
                <a:lnTo>
                  <a:pt x="848" y="238"/>
                </a:lnTo>
                <a:lnTo>
                  <a:pt x="840" y="233"/>
                </a:lnTo>
                <a:lnTo>
                  <a:pt x="831" y="228"/>
                </a:lnTo>
                <a:lnTo>
                  <a:pt x="820" y="222"/>
                </a:lnTo>
                <a:lnTo>
                  <a:pt x="807" y="215"/>
                </a:lnTo>
                <a:lnTo>
                  <a:pt x="793" y="207"/>
                </a:lnTo>
                <a:lnTo>
                  <a:pt x="777" y="198"/>
                </a:lnTo>
                <a:lnTo>
                  <a:pt x="760" y="187"/>
                </a:lnTo>
                <a:lnTo>
                  <a:pt x="740" y="176"/>
                </a:lnTo>
                <a:lnTo>
                  <a:pt x="719" y="164"/>
                </a:lnTo>
                <a:lnTo>
                  <a:pt x="697" y="152"/>
                </a:lnTo>
                <a:lnTo>
                  <a:pt x="672" y="138"/>
                </a:lnTo>
                <a:lnTo>
                  <a:pt x="646" y="123"/>
                </a:lnTo>
                <a:lnTo>
                  <a:pt x="620" y="108"/>
                </a:lnTo>
                <a:lnTo>
                  <a:pt x="596" y="94"/>
                </a:lnTo>
                <a:lnTo>
                  <a:pt x="573" y="81"/>
                </a:lnTo>
                <a:lnTo>
                  <a:pt x="552" y="69"/>
                </a:lnTo>
                <a:lnTo>
                  <a:pt x="533" y="58"/>
                </a:lnTo>
                <a:lnTo>
                  <a:pt x="515" y="48"/>
                </a:lnTo>
                <a:lnTo>
                  <a:pt x="500" y="39"/>
                </a:lnTo>
                <a:lnTo>
                  <a:pt x="485" y="31"/>
                </a:lnTo>
                <a:lnTo>
                  <a:pt x="473" y="24"/>
                </a:lnTo>
                <a:lnTo>
                  <a:pt x="462" y="18"/>
                </a:lnTo>
                <a:lnTo>
                  <a:pt x="453" y="12"/>
                </a:lnTo>
                <a:lnTo>
                  <a:pt x="445" y="8"/>
                </a:lnTo>
                <a:lnTo>
                  <a:pt x="439" y="5"/>
                </a:lnTo>
                <a:lnTo>
                  <a:pt x="435" y="2"/>
                </a:lnTo>
                <a:lnTo>
                  <a:pt x="432" y="1"/>
                </a:lnTo>
                <a:lnTo>
                  <a:pt x="432" y="0"/>
                </a:lnTo>
                <a:lnTo>
                  <a:pt x="431" y="1"/>
                </a:lnTo>
                <a:lnTo>
                  <a:pt x="428" y="2"/>
                </a:lnTo>
                <a:lnTo>
                  <a:pt x="424" y="5"/>
                </a:lnTo>
                <a:lnTo>
                  <a:pt x="418" y="8"/>
                </a:lnTo>
                <a:lnTo>
                  <a:pt x="410" y="12"/>
                </a:lnTo>
                <a:lnTo>
                  <a:pt x="401" y="18"/>
                </a:lnTo>
                <a:lnTo>
                  <a:pt x="390" y="24"/>
                </a:lnTo>
                <a:lnTo>
                  <a:pt x="378" y="31"/>
                </a:lnTo>
                <a:lnTo>
                  <a:pt x="363" y="39"/>
                </a:lnTo>
                <a:lnTo>
                  <a:pt x="347" y="48"/>
                </a:lnTo>
                <a:lnTo>
                  <a:pt x="330" y="58"/>
                </a:lnTo>
                <a:lnTo>
                  <a:pt x="310" y="69"/>
                </a:lnTo>
                <a:lnTo>
                  <a:pt x="289" y="81"/>
                </a:lnTo>
                <a:lnTo>
                  <a:pt x="266" y="94"/>
                </a:lnTo>
                <a:lnTo>
                  <a:pt x="242" y="108"/>
                </a:lnTo>
                <a:lnTo>
                  <a:pt x="216" y="123"/>
                </a:lnTo>
                <a:lnTo>
                  <a:pt x="190" y="138"/>
                </a:lnTo>
                <a:lnTo>
                  <a:pt x="165" y="152"/>
                </a:lnTo>
                <a:lnTo>
                  <a:pt x="142" y="164"/>
                </a:lnTo>
                <a:lnTo>
                  <a:pt x="121" y="176"/>
                </a:lnTo>
                <a:lnTo>
                  <a:pt x="102" y="187"/>
                </a:lnTo>
                <a:lnTo>
                  <a:pt x="84" y="198"/>
                </a:lnTo>
                <a:lnTo>
                  <a:pt x="68" y="207"/>
                </a:lnTo>
                <a:lnTo>
                  <a:pt x="54" y="215"/>
                </a:lnTo>
                <a:lnTo>
                  <a:pt x="41" y="222"/>
                </a:lnTo>
                <a:lnTo>
                  <a:pt x="30" y="228"/>
                </a:lnTo>
                <a:lnTo>
                  <a:pt x="21" y="233"/>
                </a:lnTo>
                <a:lnTo>
                  <a:pt x="13" y="238"/>
                </a:lnTo>
                <a:lnTo>
                  <a:pt x="8" y="241"/>
                </a:lnTo>
                <a:lnTo>
                  <a:pt x="3" y="243"/>
                </a:lnTo>
                <a:lnTo>
                  <a:pt x="1" y="245"/>
                </a:lnTo>
                <a:lnTo>
                  <a:pt x="0" y="245"/>
                </a:lnTo>
                <a:lnTo>
                  <a:pt x="1" y="245"/>
                </a:lnTo>
                <a:lnTo>
                  <a:pt x="3" y="245"/>
                </a:lnTo>
                <a:lnTo>
                  <a:pt x="4" y="245"/>
                </a:lnTo>
                <a:lnTo>
                  <a:pt x="7" y="245"/>
                </a:lnTo>
                <a:lnTo>
                  <a:pt x="10" y="245"/>
                </a:lnTo>
                <a:lnTo>
                  <a:pt x="14" y="245"/>
                </a:lnTo>
                <a:lnTo>
                  <a:pt x="18" y="245"/>
                </a:lnTo>
                <a:lnTo>
                  <a:pt x="23" y="245"/>
                </a:lnTo>
                <a:lnTo>
                  <a:pt x="28" y="245"/>
                </a:lnTo>
                <a:lnTo>
                  <a:pt x="34" y="245"/>
                </a:lnTo>
                <a:lnTo>
                  <a:pt x="40" y="245"/>
                </a:lnTo>
                <a:lnTo>
                  <a:pt x="47" y="245"/>
                </a:lnTo>
                <a:lnTo>
                  <a:pt x="55" y="245"/>
                </a:lnTo>
                <a:lnTo>
                  <a:pt x="63" y="245"/>
                </a:lnTo>
                <a:lnTo>
                  <a:pt x="72" y="245"/>
                </a:lnTo>
                <a:lnTo>
                  <a:pt x="81" y="245"/>
                </a:lnTo>
                <a:lnTo>
                  <a:pt x="89" y="245"/>
                </a:lnTo>
                <a:lnTo>
                  <a:pt x="96" y="245"/>
                </a:lnTo>
                <a:lnTo>
                  <a:pt x="103" y="245"/>
                </a:lnTo>
                <a:lnTo>
                  <a:pt x="110" y="245"/>
                </a:lnTo>
                <a:lnTo>
                  <a:pt x="116" y="245"/>
                </a:lnTo>
                <a:lnTo>
                  <a:pt x="121" y="245"/>
                </a:lnTo>
                <a:lnTo>
                  <a:pt x="126" y="245"/>
                </a:lnTo>
                <a:lnTo>
                  <a:pt x="130" y="245"/>
                </a:lnTo>
                <a:lnTo>
                  <a:pt x="134" y="245"/>
                </a:lnTo>
                <a:lnTo>
                  <a:pt x="137" y="245"/>
                </a:lnTo>
                <a:lnTo>
                  <a:pt x="139" y="245"/>
                </a:lnTo>
                <a:lnTo>
                  <a:pt x="141" y="245"/>
                </a:lnTo>
                <a:lnTo>
                  <a:pt x="143" y="245"/>
                </a:lnTo>
                <a:lnTo>
                  <a:pt x="144" y="245"/>
                </a:lnTo>
                <a:lnTo>
                  <a:pt x="144" y="246"/>
                </a:lnTo>
                <a:lnTo>
                  <a:pt x="144" y="247"/>
                </a:lnTo>
                <a:lnTo>
                  <a:pt x="144" y="250"/>
                </a:lnTo>
                <a:lnTo>
                  <a:pt x="144" y="254"/>
                </a:lnTo>
                <a:lnTo>
                  <a:pt x="145" y="259"/>
                </a:lnTo>
                <a:lnTo>
                  <a:pt x="145" y="264"/>
                </a:lnTo>
                <a:lnTo>
                  <a:pt x="146" y="271"/>
                </a:lnTo>
                <a:lnTo>
                  <a:pt x="146" y="279"/>
                </a:lnTo>
                <a:lnTo>
                  <a:pt x="147" y="288"/>
                </a:lnTo>
                <a:lnTo>
                  <a:pt x="147" y="298"/>
                </a:lnTo>
                <a:lnTo>
                  <a:pt x="148" y="309"/>
                </a:lnTo>
                <a:lnTo>
                  <a:pt x="149" y="322"/>
                </a:lnTo>
                <a:lnTo>
                  <a:pt x="150" y="335"/>
                </a:lnTo>
                <a:lnTo>
                  <a:pt x="151" y="349"/>
                </a:lnTo>
                <a:lnTo>
                  <a:pt x="152" y="364"/>
                </a:lnTo>
                <a:lnTo>
                  <a:pt x="153" y="381"/>
                </a:lnTo>
                <a:lnTo>
                  <a:pt x="154" y="398"/>
                </a:lnTo>
                <a:lnTo>
                  <a:pt x="157" y="416"/>
                </a:lnTo>
                <a:lnTo>
                  <a:pt x="160" y="434"/>
                </a:lnTo>
                <a:lnTo>
                  <a:pt x="164" y="453"/>
                </a:lnTo>
                <a:lnTo>
                  <a:pt x="168" y="473"/>
                </a:lnTo>
                <a:lnTo>
                  <a:pt x="174" y="493"/>
                </a:lnTo>
                <a:lnTo>
                  <a:pt x="180" y="514"/>
                </a:lnTo>
                <a:lnTo>
                  <a:pt x="187" y="535"/>
                </a:lnTo>
                <a:lnTo>
                  <a:pt x="195" y="557"/>
                </a:lnTo>
                <a:lnTo>
                  <a:pt x="203" y="580"/>
                </a:lnTo>
                <a:lnTo>
                  <a:pt x="212" y="603"/>
                </a:lnTo>
                <a:lnTo>
                  <a:pt x="223" y="627"/>
                </a:lnTo>
                <a:lnTo>
                  <a:pt x="233" y="652"/>
                </a:lnTo>
                <a:lnTo>
                  <a:pt x="245" y="677"/>
                </a:lnTo>
                <a:lnTo>
                  <a:pt x="257" y="702"/>
                </a:lnTo>
                <a:lnTo>
                  <a:pt x="271" y="728"/>
                </a:lnTo>
                <a:lnTo>
                  <a:pt x="285" y="755"/>
                </a:lnTo>
                <a:lnTo>
                  <a:pt x="300" y="781"/>
                </a:lnTo>
                <a:lnTo>
                  <a:pt x="316" y="806"/>
                </a:lnTo>
                <a:lnTo>
                  <a:pt x="332" y="831"/>
                </a:lnTo>
                <a:lnTo>
                  <a:pt x="350" y="855"/>
                </a:lnTo>
                <a:lnTo>
                  <a:pt x="369" y="878"/>
                </a:lnTo>
                <a:lnTo>
                  <a:pt x="388" y="902"/>
                </a:lnTo>
                <a:lnTo>
                  <a:pt x="408" y="924"/>
                </a:lnTo>
                <a:lnTo>
                  <a:pt x="430" y="947"/>
                </a:lnTo>
                <a:lnTo>
                  <a:pt x="452" y="968"/>
                </a:lnTo>
                <a:lnTo>
                  <a:pt x="475" y="989"/>
                </a:lnTo>
                <a:lnTo>
                  <a:pt x="499" y="1010"/>
                </a:lnTo>
                <a:lnTo>
                  <a:pt x="524" y="1030"/>
                </a:lnTo>
                <a:lnTo>
                  <a:pt x="549" y="1050"/>
                </a:lnTo>
                <a:lnTo>
                  <a:pt x="576" y="1069"/>
                </a:lnTo>
                <a:lnTo>
                  <a:pt x="603" y="1087"/>
                </a:lnTo>
                <a:lnTo>
                  <a:pt x="631" y="1105"/>
                </a:lnTo>
                <a:lnTo>
                  <a:pt x="660" y="1122"/>
                </a:lnTo>
                <a:lnTo>
                  <a:pt x="688" y="1138"/>
                </a:lnTo>
                <a:lnTo>
                  <a:pt x="717" y="1152"/>
                </a:lnTo>
                <a:lnTo>
                  <a:pt x="746" y="1166"/>
                </a:lnTo>
                <a:lnTo>
                  <a:pt x="775" y="1179"/>
                </a:lnTo>
                <a:lnTo>
                  <a:pt x="805" y="1191"/>
                </a:lnTo>
                <a:lnTo>
                  <a:pt x="834" y="1202"/>
                </a:lnTo>
                <a:lnTo>
                  <a:pt x="864" y="1212"/>
                </a:lnTo>
                <a:lnTo>
                  <a:pt x="894" y="1221"/>
                </a:lnTo>
                <a:lnTo>
                  <a:pt x="925" y="1229"/>
                </a:lnTo>
                <a:lnTo>
                  <a:pt x="955" y="1236"/>
                </a:lnTo>
                <a:lnTo>
                  <a:pt x="986" y="1242"/>
                </a:lnTo>
                <a:lnTo>
                  <a:pt x="1017" y="1247"/>
                </a:lnTo>
                <a:lnTo>
                  <a:pt x="1048" y="1251"/>
                </a:lnTo>
                <a:lnTo>
                  <a:pt x="1080" y="1254"/>
                </a:lnTo>
                <a:lnTo>
                  <a:pt x="1111" y="1256"/>
                </a:lnTo>
                <a:lnTo>
                  <a:pt x="1143" y="1257"/>
                </a:lnTo>
                <a:lnTo>
                  <a:pt x="1174" y="1258"/>
                </a:lnTo>
                <a:lnTo>
                  <a:pt x="1205" y="1257"/>
                </a:lnTo>
                <a:lnTo>
                  <a:pt x="1236" y="1255"/>
                </a:lnTo>
                <a:lnTo>
                  <a:pt x="1267" y="1253"/>
                </a:lnTo>
                <a:lnTo>
                  <a:pt x="1298" y="1249"/>
                </a:lnTo>
                <a:lnTo>
                  <a:pt x="1328" y="1245"/>
                </a:lnTo>
                <a:lnTo>
                  <a:pt x="1359" y="1239"/>
                </a:lnTo>
                <a:lnTo>
                  <a:pt x="1389" y="1233"/>
                </a:lnTo>
                <a:lnTo>
                  <a:pt x="1419" y="1226"/>
                </a:lnTo>
                <a:lnTo>
                  <a:pt x="1449" y="1217"/>
                </a:lnTo>
                <a:lnTo>
                  <a:pt x="1479" y="1208"/>
                </a:lnTo>
                <a:lnTo>
                  <a:pt x="1509" y="1198"/>
                </a:lnTo>
                <a:lnTo>
                  <a:pt x="1539" y="1187"/>
                </a:lnTo>
                <a:lnTo>
                  <a:pt x="1568" y="1175"/>
                </a:lnTo>
                <a:lnTo>
                  <a:pt x="1598" y="1162"/>
                </a:lnTo>
                <a:lnTo>
                  <a:pt x="1626" y="1149"/>
                </a:lnTo>
                <a:lnTo>
                  <a:pt x="1654" y="1135"/>
                </a:lnTo>
                <a:lnTo>
                  <a:pt x="1681" y="1120"/>
                </a:lnTo>
                <a:lnTo>
                  <a:pt x="1708" y="1104"/>
                </a:lnTo>
                <a:lnTo>
                  <a:pt x="1733" y="1088"/>
                </a:lnTo>
                <a:lnTo>
                  <a:pt x="1758" y="1071"/>
                </a:lnTo>
                <a:lnTo>
                  <a:pt x="1783" y="1053"/>
                </a:lnTo>
                <a:lnTo>
                  <a:pt x="1807" y="1035"/>
                </a:lnTo>
                <a:lnTo>
                  <a:pt x="1830" y="1016"/>
                </a:lnTo>
                <a:lnTo>
                  <a:pt x="1852" y="996"/>
                </a:lnTo>
                <a:lnTo>
                  <a:pt x="1874" y="976"/>
                </a:lnTo>
                <a:lnTo>
                  <a:pt x="1896" y="955"/>
                </a:lnTo>
                <a:lnTo>
                  <a:pt x="1916" y="933"/>
                </a:lnTo>
                <a:lnTo>
                  <a:pt x="1936" y="911"/>
                </a:lnTo>
                <a:lnTo>
                  <a:pt x="1955" y="888"/>
                </a:lnTo>
                <a:lnTo>
                  <a:pt x="1973" y="864"/>
                </a:lnTo>
                <a:lnTo>
                  <a:pt x="1991" y="841"/>
                </a:lnTo>
                <a:lnTo>
                  <a:pt x="2008" y="818"/>
                </a:lnTo>
                <a:lnTo>
                  <a:pt x="2023" y="796"/>
                </a:lnTo>
                <a:lnTo>
                  <a:pt x="2038" y="774"/>
                </a:lnTo>
                <a:lnTo>
                  <a:pt x="2052" y="752"/>
                </a:lnTo>
                <a:lnTo>
                  <a:pt x="2065" y="730"/>
                </a:lnTo>
                <a:lnTo>
                  <a:pt x="2077" y="709"/>
                </a:lnTo>
                <a:lnTo>
                  <a:pt x="2089" y="688"/>
                </a:lnTo>
                <a:lnTo>
                  <a:pt x="2099" y="667"/>
                </a:lnTo>
                <a:lnTo>
                  <a:pt x="2109" y="646"/>
                </a:lnTo>
                <a:lnTo>
                  <a:pt x="2117" y="626"/>
                </a:lnTo>
                <a:lnTo>
                  <a:pt x="2125" y="606"/>
                </a:lnTo>
                <a:lnTo>
                  <a:pt x="2132" y="586"/>
                </a:lnTo>
                <a:lnTo>
                  <a:pt x="2138" y="567"/>
                </a:lnTo>
                <a:lnTo>
                  <a:pt x="2143" y="548"/>
                </a:lnTo>
                <a:lnTo>
                  <a:pt x="2147" y="529"/>
                </a:lnTo>
                <a:lnTo>
                  <a:pt x="2152" y="512"/>
                </a:lnTo>
                <a:lnTo>
                  <a:pt x="2155" y="496"/>
                </a:lnTo>
                <a:lnTo>
                  <a:pt x="2159" y="481"/>
                </a:lnTo>
                <a:lnTo>
                  <a:pt x="2162" y="467"/>
                </a:lnTo>
                <a:lnTo>
                  <a:pt x="2165" y="455"/>
                </a:lnTo>
                <a:lnTo>
                  <a:pt x="2168" y="444"/>
                </a:lnTo>
                <a:lnTo>
                  <a:pt x="2171" y="434"/>
                </a:lnTo>
                <a:lnTo>
                  <a:pt x="2173" y="425"/>
                </a:lnTo>
                <a:lnTo>
                  <a:pt x="2175" y="417"/>
                </a:lnTo>
                <a:lnTo>
                  <a:pt x="2176" y="410"/>
                </a:lnTo>
                <a:lnTo>
                  <a:pt x="2178" y="405"/>
                </a:lnTo>
                <a:lnTo>
                  <a:pt x="2179" y="401"/>
                </a:lnTo>
                <a:lnTo>
                  <a:pt x="2179" y="398"/>
                </a:lnTo>
                <a:lnTo>
                  <a:pt x="2180" y="396"/>
                </a:lnTo>
                <a:lnTo>
                  <a:pt x="2179" y="396"/>
                </a:lnTo>
                <a:lnTo>
                  <a:pt x="2178" y="397"/>
                </a:lnTo>
                <a:lnTo>
                  <a:pt x="2175" y="398"/>
                </a:lnTo>
                <a:lnTo>
                  <a:pt x="2171" y="401"/>
                </a:lnTo>
                <a:lnTo>
                  <a:pt x="2166" y="403"/>
                </a:lnTo>
                <a:lnTo>
                  <a:pt x="2160" y="407"/>
                </a:lnTo>
                <a:lnTo>
                  <a:pt x="2153" y="411"/>
                </a:lnTo>
                <a:lnTo>
                  <a:pt x="2145" y="416"/>
                </a:lnTo>
                <a:lnTo>
                  <a:pt x="2136" y="421"/>
                </a:lnTo>
                <a:lnTo>
                  <a:pt x="2125" y="427"/>
                </a:lnTo>
                <a:lnTo>
                  <a:pt x="2114" y="433"/>
                </a:lnTo>
                <a:lnTo>
                  <a:pt x="2101" y="441"/>
                </a:lnTo>
                <a:lnTo>
                  <a:pt x="2088" y="448"/>
                </a:lnTo>
                <a:lnTo>
                  <a:pt x="2073" y="457"/>
                </a:lnTo>
                <a:lnTo>
                  <a:pt x="2057" y="466"/>
                </a:lnTo>
                <a:lnTo>
                  <a:pt x="2040" y="476"/>
                </a:lnTo>
                <a:lnTo>
                  <a:pt x="2023" y="485"/>
                </a:lnTo>
                <a:lnTo>
                  <a:pt x="2007" y="494"/>
                </a:lnTo>
                <a:lnTo>
                  <a:pt x="1992" y="503"/>
                </a:lnTo>
                <a:lnTo>
                  <a:pt x="1979" y="511"/>
                </a:lnTo>
                <a:lnTo>
                  <a:pt x="1966" y="518"/>
                </a:lnTo>
                <a:lnTo>
                  <a:pt x="1955" y="524"/>
                </a:lnTo>
                <a:lnTo>
                  <a:pt x="1944" y="530"/>
                </a:lnTo>
                <a:lnTo>
                  <a:pt x="1935" y="536"/>
                </a:lnTo>
                <a:lnTo>
                  <a:pt x="1927" y="540"/>
                </a:lnTo>
                <a:lnTo>
                  <a:pt x="1920" y="544"/>
                </a:lnTo>
                <a:lnTo>
                  <a:pt x="1914" y="548"/>
                </a:lnTo>
                <a:lnTo>
                  <a:pt x="1909" y="551"/>
                </a:lnTo>
                <a:lnTo>
                  <a:pt x="1905" y="553"/>
                </a:lnTo>
                <a:lnTo>
                  <a:pt x="1902" y="554"/>
                </a:lnTo>
                <a:lnTo>
                  <a:pt x="1901" y="555"/>
                </a:lnTo>
                <a:lnTo>
                  <a:pt x="1900" y="556"/>
                </a:lnTo>
                <a:lnTo>
                  <a:pt x="1900" y="555"/>
                </a:lnTo>
                <a:lnTo>
                  <a:pt x="1898" y="554"/>
                </a:lnTo>
                <a:lnTo>
                  <a:pt x="1895" y="553"/>
                </a:lnTo>
                <a:lnTo>
                  <a:pt x="1890" y="550"/>
                </a:lnTo>
                <a:lnTo>
                  <a:pt x="1885" y="547"/>
                </a:lnTo>
                <a:lnTo>
                  <a:pt x="1878" y="543"/>
                </a:lnTo>
                <a:lnTo>
                  <a:pt x="1870" y="539"/>
                </a:lnTo>
                <a:lnTo>
                  <a:pt x="1861" y="534"/>
                </a:lnTo>
                <a:lnTo>
                  <a:pt x="1851" y="528"/>
                </a:lnTo>
                <a:lnTo>
                  <a:pt x="1840" y="521"/>
                </a:lnTo>
                <a:lnTo>
                  <a:pt x="1827" y="514"/>
                </a:lnTo>
                <a:lnTo>
                  <a:pt x="1813" y="506"/>
                </a:lnTo>
                <a:lnTo>
                  <a:pt x="1798" y="498"/>
                </a:lnTo>
                <a:lnTo>
                  <a:pt x="1782" y="488"/>
                </a:lnTo>
                <a:lnTo>
                  <a:pt x="1764" y="478"/>
                </a:lnTo>
                <a:lnTo>
                  <a:pt x="1745" y="468"/>
                </a:lnTo>
                <a:lnTo>
                  <a:pt x="1727" y="457"/>
                </a:lnTo>
                <a:lnTo>
                  <a:pt x="1709" y="447"/>
                </a:lnTo>
                <a:lnTo>
                  <a:pt x="1693" y="438"/>
                </a:lnTo>
                <a:lnTo>
                  <a:pt x="1678" y="429"/>
                </a:lnTo>
                <a:lnTo>
                  <a:pt x="1664" y="421"/>
                </a:lnTo>
                <a:lnTo>
                  <a:pt x="1651" y="414"/>
                </a:lnTo>
                <a:lnTo>
                  <a:pt x="1639" y="408"/>
                </a:lnTo>
                <a:lnTo>
                  <a:pt x="1629" y="402"/>
                </a:lnTo>
                <a:lnTo>
                  <a:pt x="1620" y="397"/>
                </a:lnTo>
                <a:lnTo>
                  <a:pt x="1612" y="392"/>
                </a:lnTo>
                <a:lnTo>
                  <a:pt x="1606" y="388"/>
                </a:lnTo>
                <a:lnTo>
                  <a:pt x="1600" y="385"/>
                </a:lnTo>
                <a:lnTo>
                  <a:pt x="1596" y="383"/>
                </a:lnTo>
                <a:lnTo>
                  <a:pt x="1593" y="381"/>
                </a:lnTo>
                <a:lnTo>
                  <a:pt x="1591" y="380"/>
                </a:lnTo>
                <a:lnTo>
                  <a:pt x="1590" y="380"/>
                </a:lnTo>
                <a:lnTo>
                  <a:pt x="1590" y="381"/>
                </a:lnTo>
                <a:lnTo>
                  <a:pt x="1589" y="383"/>
                </a:lnTo>
                <a:lnTo>
                  <a:pt x="1588" y="385"/>
                </a:lnTo>
                <a:lnTo>
                  <a:pt x="1587" y="388"/>
                </a:lnTo>
                <a:lnTo>
                  <a:pt x="1586" y="391"/>
                </a:lnTo>
                <a:lnTo>
                  <a:pt x="1584" y="395"/>
                </a:lnTo>
                <a:lnTo>
                  <a:pt x="1582" y="400"/>
                </a:lnTo>
                <a:lnTo>
                  <a:pt x="1580" y="405"/>
                </a:lnTo>
                <a:lnTo>
                  <a:pt x="1577" y="411"/>
                </a:lnTo>
                <a:lnTo>
                  <a:pt x="1574" y="418"/>
                </a:lnTo>
                <a:lnTo>
                  <a:pt x="1571" y="425"/>
                </a:lnTo>
                <a:lnTo>
                  <a:pt x="1568" y="433"/>
                </a:lnTo>
                <a:lnTo>
                  <a:pt x="1564" y="441"/>
                </a:lnTo>
                <a:lnTo>
                  <a:pt x="1561" y="450"/>
                </a:lnTo>
                <a:lnTo>
                  <a:pt x="1556" y="460"/>
                </a:lnTo>
                <a:lnTo>
                  <a:pt x="1552" y="470"/>
                </a:lnTo>
                <a:lnTo>
                  <a:pt x="1547" y="480"/>
                </a:lnTo>
                <a:lnTo>
                  <a:pt x="1541" y="490"/>
                </a:lnTo>
                <a:lnTo>
                  <a:pt x="1534" y="500"/>
                </a:lnTo>
                <a:lnTo>
                  <a:pt x="1526" y="510"/>
                </a:lnTo>
                <a:lnTo>
                  <a:pt x="1518" y="520"/>
                </a:lnTo>
                <a:lnTo>
                  <a:pt x="1510" y="530"/>
                </a:lnTo>
                <a:lnTo>
                  <a:pt x="1500" y="541"/>
                </a:lnTo>
                <a:lnTo>
                  <a:pt x="1490" y="551"/>
                </a:lnTo>
                <a:lnTo>
                  <a:pt x="1479" y="561"/>
                </a:lnTo>
                <a:lnTo>
                  <a:pt x="1467" y="571"/>
                </a:lnTo>
                <a:lnTo>
                  <a:pt x="1455" y="581"/>
                </a:lnTo>
                <a:lnTo>
                  <a:pt x="1442" y="592"/>
                </a:lnTo>
                <a:lnTo>
                  <a:pt x="1428" y="602"/>
                </a:lnTo>
                <a:lnTo>
                  <a:pt x="1414" y="612"/>
                </a:lnTo>
                <a:lnTo>
                  <a:pt x="1399" y="623"/>
                </a:lnTo>
                <a:lnTo>
                  <a:pt x="1383" y="633"/>
                </a:lnTo>
                <a:lnTo>
                  <a:pt x="1367" y="642"/>
                </a:lnTo>
                <a:lnTo>
                  <a:pt x="1350" y="650"/>
                </a:lnTo>
                <a:lnTo>
                  <a:pt x="1333" y="657"/>
                </a:lnTo>
                <a:lnTo>
                  <a:pt x="1316" y="664"/>
                </a:lnTo>
                <a:lnTo>
                  <a:pt x="1298" y="670"/>
                </a:lnTo>
                <a:lnTo>
                  <a:pt x="1280" y="674"/>
                </a:lnTo>
                <a:lnTo>
                  <a:pt x="1262" y="678"/>
                </a:lnTo>
                <a:lnTo>
                  <a:pt x="1243" y="681"/>
                </a:lnTo>
                <a:lnTo>
                  <a:pt x="1223" y="684"/>
                </a:lnTo>
                <a:lnTo>
                  <a:pt x="1204" y="685"/>
                </a:lnTo>
                <a:lnTo>
                  <a:pt x="1184" y="686"/>
                </a:lnTo>
                <a:lnTo>
                  <a:pt x="1163" y="685"/>
                </a:lnTo>
                <a:lnTo>
                  <a:pt x="1142" y="684"/>
                </a:lnTo>
                <a:lnTo>
                  <a:pt x="1121" y="682"/>
                </a:lnTo>
                <a:lnTo>
                  <a:pt x="1099" y="679"/>
                </a:lnTo>
                <a:lnTo>
                  <a:pt x="1077" y="675"/>
                </a:lnTo>
                <a:lnTo>
                  <a:pt x="1056" y="671"/>
                </a:lnTo>
                <a:lnTo>
                  <a:pt x="1036" y="666"/>
                </a:lnTo>
                <a:lnTo>
                  <a:pt x="1016" y="660"/>
                </a:lnTo>
                <a:lnTo>
                  <a:pt x="997" y="654"/>
                </a:lnTo>
                <a:lnTo>
                  <a:pt x="979" y="646"/>
                </a:lnTo>
                <a:lnTo>
                  <a:pt x="961" y="638"/>
                </a:lnTo>
                <a:lnTo>
                  <a:pt x="944" y="630"/>
                </a:lnTo>
                <a:lnTo>
                  <a:pt x="928" y="620"/>
                </a:lnTo>
                <a:lnTo>
                  <a:pt x="912" y="610"/>
                </a:lnTo>
                <a:lnTo>
                  <a:pt x="897" y="599"/>
                </a:lnTo>
                <a:lnTo>
                  <a:pt x="882" y="588"/>
                </a:lnTo>
                <a:lnTo>
                  <a:pt x="869" y="576"/>
                </a:lnTo>
                <a:lnTo>
                  <a:pt x="855" y="563"/>
                </a:lnTo>
                <a:lnTo>
                  <a:pt x="843" y="549"/>
                </a:lnTo>
                <a:lnTo>
                  <a:pt x="831" y="535"/>
                </a:lnTo>
                <a:lnTo>
                  <a:pt x="820" y="520"/>
                </a:lnTo>
                <a:lnTo>
                  <a:pt x="809" y="506"/>
                </a:lnTo>
                <a:lnTo>
                  <a:pt x="800" y="492"/>
                </a:lnTo>
                <a:lnTo>
                  <a:pt x="790" y="478"/>
                </a:lnTo>
                <a:lnTo>
                  <a:pt x="782" y="464"/>
                </a:lnTo>
                <a:lnTo>
                  <a:pt x="774" y="451"/>
                </a:lnTo>
                <a:lnTo>
                  <a:pt x="766" y="438"/>
                </a:lnTo>
                <a:lnTo>
                  <a:pt x="760" y="425"/>
                </a:lnTo>
                <a:lnTo>
                  <a:pt x="754" y="413"/>
                </a:lnTo>
                <a:lnTo>
                  <a:pt x="748" y="400"/>
                </a:lnTo>
                <a:lnTo>
                  <a:pt x="744" y="388"/>
                </a:lnTo>
                <a:lnTo>
                  <a:pt x="739" y="376"/>
                </a:lnTo>
                <a:lnTo>
                  <a:pt x="736" y="365"/>
                </a:lnTo>
                <a:lnTo>
                  <a:pt x="733" y="353"/>
                </a:lnTo>
                <a:lnTo>
                  <a:pt x="731" y="342"/>
                </a:lnTo>
                <a:lnTo>
                  <a:pt x="729" y="331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12" y="443711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176264" y="19168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676883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 rot="-5400000">
            <a:off x="-1384200" y="3428107"/>
            <a:ext cx="5184576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4664" tIns="42332" rIns="84664" bIns="42332">
            <a:spAutoFit/>
          </a:bodyPr>
          <a:lstStyle/>
          <a:p>
            <a:pPr algn="ctr" defTabSz="91425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b="1" dirty="0">
                <a:solidFill>
                  <a:schemeClr val="tx2"/>
                </a:solidFill>
                <a:latin typeface="+mn-lt"/>
                <a:cs typeface="+mn-cs"/>
              </a:rPr>
              <a:t>SOMMAI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547814" y="1196975"/>
            <a:ext cx="6769100" cy="5184775"/>
          </a:xfrm>
        </p:spPr>
        <p:txBody>
          <a:bodyPr anchor="ctr">
            <a:noAutofit/>
          </a:bodyPr>
          <a:lstStyle>
            <a:lvl1pPr>
              <a:defRPr sz="1800" b="1"/>
            </a:lvl1pPr>
            <a:lvl2pPr>
              <a:defRPr sz="18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777862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3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/>
        </p:nvSpPr>
        <p:spPr bwMode="auto">
          <a:xfrm>
            <a:off x="3142079" y="1658632"/>
            <a:ext cx="3238500" cy="1592263"/>
          </a:xfrm>
          <a:custGeom>
            <a:avLst/>
            <a:gdLst>
              <a:gd name="T0" fmla="*/ 2147483647 w 1750"/>
              <a:gd name="T1" fmla="*/ 2147483647 h 860"/>
              <a:gd name="T2" fmla="*/ 2147483647 w 1750"/>
              <a:gd name="T3" fmla="*/ 2147483647 h 860"/>
              <a:gd name="T4" fmla="*/ 2147483647 w 1750"/>
              <a:gd name="T5" fmla="*/ 2147483647 h 860"/>
              <a:gd name="T6" fmla="*/ 2147483647 w 1750"/>
              <a:gd name="T7" fmla="*/ 2147483647 h 860"/>
              <a:gd name="T8" fmla="*/ 2147483647 w 1750"/>
              <a:gd name="T9" fmla="*/ 2147483647 h 860"/>
              <a:gd name="T10" fmla="*/ 2147483647 w 1750"/>
              <a:gd name="T11" fmla="*/ 2147483647 h 860"/>
              <a:gd name="T12" fmla="*/ 2147483647 w 1750"/>
              <a:gd name="T13" fmla="*/ 2147483647 h 860"/>
              <a:gd name="T14" fmla="*/ 2147483647 w 1750"/>
              <a:gd name="T15" fmla="*/ 2147483647 h 860"/>
              <a:gd name="T16" fmla="*/ 2147483647 w 1750"/>
              <a:gd name="T17" fmla="*/ 2147483647 h 860"/>
              <a:gd name="T18" fmla="*/ 2147483647 w 1750"/>
              <a:gd name="T19" fmla="*/ 2147483647 h 860"/>
              <a:gd name="T20" fmla="*/ 2147483647 w 1750"/>
              <a:gd name="T21" fmla="*/ 2147483647 h 860"/>
              <a:gd name="T22" fmla="*/ 2147483647 w 1750"/>
              <a:gd name="T23" fmla="*/ 2147483647 h 860"/>
              <a:gd name="T24" fmla="*/ 2147483647 w 1750"/>
              <a:gd name="T25" fmla="*/ 2147483647 h 860"/>
              <a:gd name="T26" fmla="*/ 2147483647 w 1750"/>
              <a:gd name="T27" fmla="*/ 2147483647 h 860"/>
              <a:gd name="T28" fmla="*/ 2147483647 w 1750"/>
              <a:gd name="T29" fmla="*/ 2147483647 h 860"/>
              <a:gd name="T30" fmla="*/ 2147483647 w 1750"/>
              <a:gd name="T31" fmla="*/ 2121892581 h 860"/>
              <a:gd name="T32" fmla="*/ 2147483647 w 1750"/>
              <a:gd name="T33" fmla="*/ 1998486679 h 860"/>
              <a:gd name="T34" fmla="*/ 2147483647 w 1750"/>
              <a:gd name="T35" fmla="*/ 1943640640 h 860"/>
              <a:gd name="T36" fmla="*/ 2147483647 w 1750"/>
              <a:gd name="T37" fmla="*/ 1953923694 h 860"/>
              <a:gd name="T38" fmla="*/ 2147483647 w 1750"/>
              <a:gd name="T39" fmla="*/ 2022483557 h 860"/>
              <a:gd name="T40" fmla="*/ 1931482036 w 1750"/>
              <a:gd name="T41" fmla="*/ 2135604554 h 860"/>
              <a:gd name="T42" fmla="*/ 1791073669 w 1750"/>
              <a:gd name="T43" fmla="*/ 2147483647 h 860"/>
              <a:gd name="T44" fmla="*/ 1743129078 w 1750"/>
              <a:gd name="T45" fmla="*/ 2147483647 h 860"/>
              <a:gd name="T46" fmla="*/ 1688335524 w 1750"/>
              <a:gd name="T47" fmla="*/ 2147483647 h 860"/>
              <a:gd name="T48" fmla="*/ 1527378418 w 1750"/>
              <a:gd name="T49" fmla="*/ 1878509233 h 860"/>
              <a:gd name="T50" fmla="*/ 1315051314 w 1750"/>
              <a:gd name="T51" fmla="*/ 1508291528 h 860"/>
              <a:gd name="T52" fmla="*/ 1198615242 w 1750"/>
              <a:gd name="T53" fmla="*/ 1309471628 h 860"/>
              <a:gd name="T54" fmla="*/ 1160945021 w 1750"/>
              <a:gd name="T55" fmla="*/ 1282047683 h 860"/>
              <a:gd name="T56" fmla="*/ 952043092 w 1750"/>
              <a:gd name="T57" fmla="*/ 1282047683 h 860"/>
              <a:gd name="T58" fmla="*/ 520541772 w 1750"/>
              <a:gd name="T59" fmla="*/ 1282047683 h 860"/>
              <a:gd name="T60" fmla="*/ 147259238 w 1750"/>
              <a:gd name="T61" fmla="*/ 1282047683 h 860"/>
              <a:gd name="T62" fmla="*/ 3425408 w 1750"/>
              <a:gd name="T63" fmla="*/ 1282047683 h 860"/>
              <a:gd name="T64" fmla="*/ 30821273 w 1750"/>
              <a:gd name="T65" fmla="*/ 1247769603 h 860"/>
              <a:gd name="T66" fmla="*/ 136984868 w 1750"/>
              <a:gd name="T67" fmla="*/ 1117507715 h 860"/>
              <a:gd name="T68" fmla="*/ 332186847 w 1750"/>
              <a:gd name="T69" fmla="*/ 908402678 h 860"/>
              <a:gd name="T70" fmla="*/ 636977843 w 1750"/>
              <a:gd name="T71" fmla="*/ 668446861 h 860"/>
              <a:gd name="T72" fmla="*/ 1047932506 w 1750"/>
              <a:gd name="T73" fmla="*/ 407924820 h 860"/>
              <a:gd name="T74" fmla="*/ 1530801974 w 1750"/>
              <a:gd name="T75" fmla="*/ 195392890 h 860"/>
              <a:gd name="T76" fmla="*/ 2071892716 w 1750"/>
              <a:gd name="T77" fmla="*/ 51418986 h 860"/>
              <a:gd name="T78" fmla="*/ 2147483647 w 1750"/>
              <a:gd name="T79" fmla="*/ 0 h 860"/>
              <a:gd name="T80" fmla="*/ 2147483647 w 1750"/>
              <a:gd name="T81" fmla="*/ 58274972 h 860"/>
              <a:gd name="T82" fmla="*/ 2147483647 w 1750"/>
              <a:gd name="T83" fmla="*/ 212531930 h 860"/>
              <a:gd name="T84" fmla="*/ 2147483647 w 1750"/>
              <a:gd name="T85" fmla="*/ 449058887 h 860"/>
              <a:gd name="T86" fmla="*/ 2147483647 w 1750"/>
              <a:gd name="T87" fmla="*/ 754145764 h 860"/>
              <a:gd name="T88" fmla="*/ 2147483647 w 1750"/>
              <a:gd name="T89" fmla="*/ 1072944729 h 860"/>
              <a:gd name="T90" fmla="*/ 2147483647 w 1750"/>
              <a:gd name="T91" fmla="*/ 1398597598 h 860"/>
              <a:gd name="T92" fmla="*/ 2147483647 w 1750"/>
              <a:gd name="T93" fmla="*/ 1635124497 h 860"/>
              <a:gd name="T94" fmla="*/ 2147483647 w 1750"/>
              <a:gd name="T95" fmla="*/ 1727679386 h 860"/>
              <a:gd name="T96" fmla="*/ 2147483647 w 1750"/>
              <a:gd name="T97" fmla="*/ 1713967414 h 860"/>
              <a:gd name="T98" fmla="*/ 2147483647 w 1750"/>
              <a:gd name="T99" fmla="*/ 1655692456 h 860"/>
              <a:gd name="T100" fmla="*/ 2147483647 w 1750"/>
              <a:gd name="T101" fmla="*/ 1569995404 h 860"/>
              <a:gd name="T102" fmla="*/ 2147483647 w 1750"/>
              <a:gd name="T103" fmla="*/ 1518576433 h 860"/>
              <a:gd name="T104" fmla="*/ 2147483647 w 1750"/>
              <a:gd name="T105" fmla="*/ 1518576433 h 860"/>
              <a:gd name="T106" fmla="*/ 2147483647 w 1750"/>
              <a:gd name="T107" fmla="*/ 1734535372 h 860"/>
              <a:gd name="T108" fmla="*/ 2147483647 w 1750"/>
              <a:gd name="T109" fmla="*/ 2147483647 h 86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750"/>
              <a:gd name="T166" fmla="*/ 0 h 860"/>
              <a:gd name="T167" fmla="*/ 1750 w 1750"/>
              <a:gd name="T168" fmla="*/ 860 h 86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750" h="860">
                <a:moveTo>
                  <a:pt x="1630" y="650"/>
                </a:moveTo>
                <a:lnTo>
                  <a:pt x="1615" y="675"/>
                </a:lnTo>
                <a:lnTo>
                  <a:pt x="1602" y="699"/>
                </a:lnTo>
                <a:lnTo>
                  <a:pt x="1589" y="721"/>
                </a:lnTo>
                <a:lnTo>
                  <a:pt x="1578" y="741"/>
                </a:lnTo>
                <a:lnTo>
                  <a:pt x="1567" y="760"/>
                </a:lnTo>
                <a:lnTo>
                  <a:pt x="1557" y="777"/>
                </a:lnTo>
                <a:lnTo>
                  <a:pt x="1549" y="793"/>
                </a:lnTo>
                <a:lnTo>
                  <a:pt x="1541" y="807"/>
                </a:lnTo>
                <a:lnTo>
                  <a:pt x="1534" y="819"/>
                </a:lnTo>
                <a:lnTo>
                  <a:pt x="1528" y="830"/>
                </a:lnTo>
                <a:lnTo>
                  <a:pt x="1523" y="839"/>
                </a:lnTo>
                <a:lnTo>
                  <a:pt x="1518" y="846"/>
                </a:lnTo>
                <a:lnTo>
                  <a:pt x="1515" y="852"/>
                </a:lnTo>
                <a:lnTo>
                  <a:pt x="1513" y="856"/>
                </a:lnTo>
                <a:lnTo>
                  <a:pt x="1511" y="858"/>
                </a:lnTo>
                <a:lnTo>
                  <a:pt x="1511" y="859"/>
                </a:lnTo>
                <a:lnTo>
                  <a:pt x="1510" y="859"/>
                </a:lnTo>
                <a:lnTo>
                  <a:pt x="1507" y="859"/>
                </a:lnTo>
                <a:lnTo>
                  <a:pt x="1502" y="859"/>
                </a:lnTo>
                <a:lnTo>
                  <a:pt x="1496" y="859"/>
                </a:lnTo>
                <a:lnTo>
                  <a:pt x="1487" y="859"/>
                </a:lnTo>
                <a:lnTo>
                  <a:pt x="1477" y="859"/>
                </a:lnTo>
                <a:lnTo>
                  <a:pt x="1464" y="859"/>
                </a:lnTo>
                <a:lnTo>
                  <a:pt x="1450" y="859"/>
                </a:lnTo>
                <a:lnTo>
                  <a:pt x="1434" y="859"/>
                </a:lnTo>
                <a:lnTo>
                  <a:pt x="1416" y="859"/>
                </a:lnTo>
                <a:lnTo>
                  <a:pt x="1396" y="859"/>
                </a:lnTo>
                <a:lnTo>
                  <a:pt x="1374" y="859"/>
                </a:lnTo>
                <a:lnTo>
                  <a:pt x="1351" y="859"/>
                </a:lnTo>
                <a:lnTo>
                  <a:pt x="1325" y="859"/>
                </a:lnTo>
                <a:lnTo>
                  <a:pt x="1298" y="859"/>
                </a:lnTo>
                <a:lnTo>
                  <a:pt x="1268" y="859"/>
                </a:lnTo>
                <a:lnTo>
                  <a:pt x="1239" y="859"/>
                </a:lnTo>
                <a:lnTo>
                  <a:pt x="1211" y="859"/>
                </a:lnTo>
                <a:lnTo>
                  <a:pt x="1186" y="859"/>
                </a:lnTo>
                <a:lnTo>
                  <a:pt x="1162" y="859"/>
                </a:lnTo>
                <a:lnTo>
                  <a:pt x="1140" y="859"/>
                </a:lnTo>
                <a:lnTo>
                  <a:pt x="1120" y="859"/>
                </a:lnTo>
                <a:lnTo>
                  <a:pt x="1102" y="859"/>
                </a:lnTo>
                <a:lnTo>
                  <a:pt x="1086" y="859"/>
                </a:lnTo>
                <a:lnTo>
                  <a:pt x="1072" y="859"/>
                </a:lnTo>
                <a:lnTo>
                  <a:pt x="1060" y="859"/>
                </a:lnTo>
                <a:lnTo>
                  <a:pt x="1049" y="859"/>
                </a:lnTo>
                <a:lnTo>
                  <a:pt x="1041" y="859"/>
                </a:lnTo>
                <a:lnTo>
                  <a:pt x="1034" y="859"/>
                </a:lnTo>
                <a:lnTo>
                  <a:pt x="1029" y="859"/>
                </a:lnTo>
                <a:lnTo>
                  <a:pt x="1026" y="859"/>
                </a:lnTo>
                <a:lnTo>
                  <a:pt x="1025" y="859"/>
                </a:lnTo>
                <a:lnTo>
                  <a:pt x="1026" y="859"/>
                </a:lnTo>
                <a:lnTo>
                  <a:pt x="1028" y="858"/>
                </a:lnTo>
                <a:lnTo>
                  <a:pt x="1029" y="857"/>
                </a:lnTo>
                <a:lnTo>
                  <a:pt x="1032" y="856"/>
                </a:lnTo>
                <a:lnTo>
                  <a:pt x="1034" y="854"/>
                </a:lnTo>
                <a:lnTo>
                  <a:pt x="1038" y="852"/>
                </a:lnTo>
                <a:lnTo>
                  <a:pt x="1042" y="850"/>
                </a:lnTo>
                <a:lnTo>
                  <a:pt x="1046" y="847"/>
                </a:lnTo>
                <a:lnTo>
                  <a:pt x="1051" y="845"/>
                </a:lnTo>
                <a:lnTo>
                  <a:pt x="1056" y="842"/>
                </a:lnTo>
                <a:lnTo>
                  <a:pt x="1062" y="838"/>
                </a:lnTo>
                <a:lnTo>
                  <a:pt x="1068" y="835"/>
                </a:lnTo>
                <a:lnTo>
                  <a:pt x="1075" y="831"/>
                </a:lnTo>
                <a:lnTo>
                  <a:pt x="1082" y="827"/>
                </a:lnTo>
                <a:lnTo>
                  <a:pt x="1090" y="822"/>
                </a:lnTo>
                <a:lnTo>
                  <a:pt x="1098" y="818"/>
                </a:lnTo>
                <a:lnTo>
                  <a:pt x="1105" y="813"/>
                </a:lnTo>
                <a:lnTo>
                  <a:pt x="1112" y="809"/>
                </a:lnTo>
                <a:lnTo>
                  <a:pt x="1118" y="806"/>
                </a:lnTo>
                <a:lnTo>
                  <a:pt x="1124" y="802"/>
                </a:lnTo>
                <a:lnTo>
                  <a:pt x="1129" y="799"/>
                </a:lnTo>
                <a:lnTo>
                  <a:pt x="1134" y="797"/>
                </a:lnTo>
                <a:lnTo>
                  <a:pt x="1138" y="794"/>
                </a:lnTo>
                <a:lnTo>
                  <a:pt x="1142" y="792"/>
                </a:lnTo>
                <a:lnTo>
                  <a:pt x="1145" y="790"/>
                </a:lnTo>
                <a:lnTo>
                  <a:pt x="1148" y="788"/>
                </a:lnTo>
                <a:lnTo>
                  <a:pt x="1150" y="787"/>
                </a:lnTo>
                <a:lnTo>
                  <a:pt x="1152" y="786"/>
                </a:lnTo>
                <a:lnTo>
                  <a:pt x="1153" y="785"/>
                </a:lnTo>
                <a:lnTo>
                  <a:pt x="1154" y="785"/>
                </a:lnTo>
                <a:lnTo>
                  <a:pt x="1153" y="784"/>
                </a:lnTo>
                <a:lnTo>
                  <a:pt x="1153" y="783"/>
                </a:lnTo>
                <a:lnTo>
                  <a:pt x="1151" y="781"/>
                </a:lnTo>
                <a:lnTo>
                  <a:pt x="1150" y="779"/>
                </a:lnTo>
                <a:lnTo>
                  <a:pt x="1148" y="776"/>
                </a:lnTo>
                <a:lnTo>
                  <a:pt x="1146" y="773"/>
                </a:lnTo>
                <a:lnTo>
                  <a:pt x="1143" y="769"/>
                </a:lnTo>
                <a:lnTo>
                  <a:pt x="1140" y="765"/>
                </a:lnTo>
                <a:lnTo>
                  <a:pt x="1137" y="761"/>
                </a:lnTo>
                <a:lnTo>
                  <a:pt x="1133" y="756"/>
                </a:lnTo>
                <a:lnTo>
                  <a:pt x="1129" y="750"/>
                </a:lnTo>
                <a:lnTo>
                  <a:pt x="1124" y="744"/>
                </a:lnTo>
                <a:lnTo>
                  <a:pt x="1120" y="738"/>
                </a:lnTo>
                <a:lnTo>
                  <a:pt x="1115" y="731"/>
                </a:lnTo>
                <a:lnTo>
                  <a:pt x="1109" y="723"/>
                </a:lnTo>
                <a:lnTo>
                  <a:pt x="1103" y="716"/>
                </a:lnTo>
                <a:lnTo>
                  <a:pt x="1097" y="708"/>
                </a:lnTo>
                <a:lnTo>
                  <a:pt x="1091" y="700"/>
                </a:lnTo>
                <a:lnTo>
                  <a:pt x="1084" y="693"/>
                </a:lnTo>
                <a:lnTo>
                  <a:pt x="1077" y="686"/>
                </a:lnTo>
                <a:lnTo>
                  <a:pt x="1069" y="679"/>
                </a:lnTo>
                <a:lnTo>
                  <a:pt x="1061" y="672"/>
                </a:lnTo>
                <a:lnTo>
                  <a:pt x="1053" y="665"/>
                </a:lnTo>
                <a:lnTo>
                  <a:pt x="1044" y="658"/>
                </a:lnTo>
                <a:lnTo>
                  <a:pt x="1035" y="651"/>
                </a:lnTo>
                <a:lnTo>
                  <a:pt x="1025" y="644"/>
                </a:lnTo>
                <a:lnTo>
                  <a:pt x="1016" y="638"/>
                </a:lnTo>
                <a:lnTo>
                  <a:pt x="1005" y="631"/>
                </a:lnTo>
                <a:lnTo>
                  <a:pt x="995" y="625"/>
                </a:lnTo>
                <a:lnTo>
                  <a:pt x="984" y="619"/>
                </a:lnTo>
                <a:lnTo>
                  <a:pt x="973" y="613"/>
                </a:lnTo>
                <a:lnTo>
                  <a:pt x="961" y="607"/>
                </a:lnTo>
                <a:lnTo>
                  <a:pt x="950" y="601"/>
                </a:lnTo>
                <a:lnTo>
                  <a:pt x="938" y="596"/>
                </a:lnTo>
                <a:lnTo>
                  <a:pt x="926" y="591"/>
                </a:lnTo>
                <a:lnTo>
                  <a:pt x="913" y="587"/>
                </a:lnTo>
                <a:lnTo>
                  <a:pt x="901" y="583"/>
                </a:lnTo>
                <a:lnTo>
                  <a:pt x="888" y="580"/>
                </a:lnTo>
                <a:lnTo>
                  <a:pt x="876" y="577"/>
                </a:lnTo>
                <a:lnTo>
                  <a:pt x="863" y="574"/>
                </a:lnTo>
                <a:lnTo>
                  <a:pt x="849" y="572"/>
                </a:lnTo>
                <a:lnTo>
                  <a:pt x="836" y="570"/>
                </a:lnTo>
                <a:lnTo>
                  <a:pt x="823" y="568"/>
                </a:lnTo>
                <a:lnTo>
                  <a:pt x="809" y="567"/>
                </a:lnTo>
                <a:lnTo>
                  <a:pt x="795" y="567"/>
                </a:lnTo>
                <a:lnTo>
                  <a:pt x="781" y="566"/>
                </a:lnTo>
                <a:lnTo>
                  <a:pt x="767" y="567"/>
                </a:lnTo>
                <a:lnTo>
                  <a:pt x="753" y="567"/>
                </a:lnTo>
                <a:lnTo>
                  <a:pt x="739" y="568"/>
                </a:lnTo>
                <a:lnTo>
                  <a:pt x="726" y="569"/>
                </a:lnTo>
                <a:lnTo>
                  <a:pt x="713" y="570"/>
                </a:lnTo>
                <a:lnTo>
                  <a:pt x="700" y="572"/>
                </a:lnTo>
                <a:lnTo>
                  <a:pt x="687" y="574"/>
                </a:lnTo>
                <a:lnTo>
                  <a:pt x="675" y="577"/>
                </a:lnTo>
                <a:lnTo>
                  <a:pt x="664" y="579"/>
                </a:lnTo>
                <a:lnTo>
                  <a:pt x="652" y="583"/>
                </a:lnTo>
                <a:lnTo>
                  <a:pt x="641" y="586"/>
                </a:lnTo>
                <a:lnTo>
                  <a:pt x="630" y="590"/>
                </a:lnTo>
                <a:lnTo>
                  <a:pt x="620" y="593"/>
                </a:lnTo>
                <a:lnTo>
                  <a:pt x="609" y="598"/>
                </a:lnTo>
                <a:lnTo>
                  <a:pt x="600" y="602"/>
                </a:lnTo>
                <a:lnTo>
                  <a:pt x="590" y="607"/>
                </a:lnTo>
                <a:lnTo>
                  <a:pt x="581" y="613"/>
                </a:lnTo>
                <a:lnTo>
                  <a:pt x="572" y="618"/>
                </a:lnTo>
                <a:lnTo>
                  <a:pt x="564" y="623"/>
                </a:lnTo>
                <a:lnTo>
                  <a:pt x="556" y="627"/>
                </a:lnTo>
                <a:lnTo>
                  <a:pt x="549" y="631"/>
                </a:lnTo>
                <a:lnTo>
                  <a:pt x="543" y="635"/>
                </a:lnTo>
                <a:lnTo>
                  <a:pt x="537" y="639"/>
                </a:lnTo>
                <a:lnTo>
                  <a:pt x="532" y="642"/>
                </a:lnTo>
                <a:lnTo>
                  <a:pt x="527" y="645"/>
                </a:lnTo>
                <a:lnTo>
                  <a:pt x="523" y="647"/>
                </a:lnTo>
                <a:lnTo>
                  <a:pt x="519" y="650"/>
                </a:lnTo>
                <a:lnTo>
                  <a:pt x="516" y="651"/>
                </a:lnTo>
                <a:lnTo>
                  <a:pt x="513" y="653"/>
                </a:lnTo>
                <a:lnTo>
                  <a:pt x="511" y="654"/>
                </a:lnTo>
                <a:lnTo>
                  <a:pt x="510" y="655"/>
                </a:lnTo>
                <a:lnTo>
                  <a:pt x="509" y="655"/>
                </a:lnTo>
                <a:lnTo>
                  <a:pt x="509" y="656"/>
                </a:lnTo>
                <a:lnTo>
                  <a:pt x="508" y="655"/>
                </a:lnTo>
                <a:lnTo>
                  <a:pt x="507" y="653"/>
                </a:lnTo>
                <a:lnTo>
                  <a:pt x="506" y="651"/>
                </a:lnTo>
                <a:lnTo>
                  <a:pt x="504" y="647"/>
                </a:lnTo>
                <a:lnTo>
                  <a:pt x="501" y="642"/>
                </a:lnTo>
                <a:lnTo>
                  <a:pt x="497" y="636"/>
                </a:lnTo>
                <a:lnTo>
                  <a:pt x="493" y="629"/>
                </a:lnTo>
                <a:lnTo>
                  <a:pt x="488" y="620"/>
                </a:lnTo>
                <a:lnTo>
                  <a:pt x="483" y="611"/>
                </a:lnTo>
                <a:lnTo>
                  <a:pt x="477" y="601"/>
                </a:lnTo>
                <a:lnTo>
                  <a:pt x="470" y="589"/>
                </a:lnTo>
                <a:lnTo>
                  <a:pt x="463" y="576"/>
                </a:lnTo>
                <a:lnTo>
                  <a:pt x="455" y="563"/>
                </a:lnTo>
                <a:lnTo>
                  <a:pt x="446" y="548"/>
                </a:lnTo>
                <a:lnTo>
                  <a:pt x="437" y="532"/>
                </a:lnTo>
                <a:lnTo>
                  <a:pt x="427" y="515"/>
                </a:lnTo>
                <a:lnTo>
                  <a:pt x="417" y="498"/>
                </a:lnTo>
                <a:lnTo>
                  <a:pt x="408" y="482"/>
                </a:lnTo>
                <a:lnTo>
                  <a:pt x="399" y="467"/>
                </a:lnTo>
                <a:lnTo>
                  <a:pt x="391" y="453"/>
                </a:lnTo>
                <a:lnTo>
                  <a:pt x="384" y="440"/>
                </a:lnTo>
                <a:lnTo>
                  <a:pt x="377" y="429"/>
                </a:lnTo>
                <a:lnTo>
                  <a:pt x="371" y="418"/>
                </a:lnTo>
                <a:lnTo>
                  <a:pt x="365" y="409"/>
                </a:lnTo>
                <a:lnTo>
                  <a:pt x="361" y="401"/>
                </a:lnTo>
                <a:lnTo>
                  <a:pt x="356" y="393"/>
                </a:lnTo>
                <a:lnTo>
                  <a:pt x="353" y="387"/>
                </a:lnTo>
                <a:lnTo>
                  <a:pt x="350" y="382"/>
                </a:lnTo>
                <a:lnTo>
                  <a:pt x="348" y="379"/>
                </a:lnTo>
                <a:lnTo>
                  <a:pt x="346" y="376"/>
                </a:lnTo>
                <a:lnTo>
                  <a:pt x="345" y="374"/>
                </a:lnTo>
                <a:lnTo>
                  <a:pt x="344" y="374"/>
                </a:lnTo>
                <a:lnTo>
                  <a:pt x="342" y="374"/>
                </a:lnTo>
                <a:lnTo>
                  <a:pt x="339" y="374"/>
                </a:lnTo>
                <a:lnTo>
                  <a:pt x="334" y="374"/>
                </a:lnTo>
                <a:lnTo>
                  <a:pt x="328" y="374"/>
                </a:lnTo>
                <a:lnTo>
                  <a:pt x="321" y="374"/>
                </a:lnTo>
                <a:lnTo>
                  <a:pt x="312" y="374"/>
                </a:lnTo>
                <a:lnTo>
                  <a:pt x="302" y="374"/>
                </a:lnTo>
                <a:lnTo>
                  <a:pt x="290" y="374"/>
                </a:lnTo>
                <a:lnTo>
                  <a:pt x="278" y="374"/>
                </a:lnTo>
                <a:lnTo>
                  <a:pt x="263" y="374"/>
                </a:lnTo>
                <a:lnTo>
                  <a:pt x="248" y="374"/>
                </a:lnTo>
                <a:lnTo>
                  <a:pt x="231" y="374"/>
                </a:lnTo>
                <a:lnTo>
                  <a:pt x="213" y="374"/>
                </a:lnTo>
                <a:lnTo>
                  <a:pt x="193" y="374"/>
                </a:lnTo>
                <a:lnTo>
                  <a:pt x="172" y="374"/>
                </a:lnTo>
                <a:lnTo>
                  <a:pt x="152" y="374"/>
                </a:lnTo>
                <a:lnTo>
                  <a:pt x="132" y="374"/>
                </a:lnTo>
                <a:lnTo>
                  <a:pt x="114" y="374"/>
                </a:lnTo>
                <a:lnTo>
                  <a:pt x="97" y="374"/>
                </a:lnTo>
                <a:lnTo>
                  <a:pt x="81" y="374"/>
                </a:lnTo>
                <a:lnTo>
                  <a:pt x="67" y="374"/>
                </a:lnTo>
                <a:lnTo>
                  <a:pt x="54" y="374"/>
                </a:lnTo>
                <a:lnTo>
                  <a:pt x="43" y="374"/>
                </a:lnTo>
                <a:lnTo>
                  <a:pt x="33" y="374"/>
                </a:lnTo>
                <a:lnTo>
                  <a:pt x="24" y="374"/>
                </a:lnTo>
                <a:lnTo>
                  <a:pt x="17" y="374"/>
                </a:lnTo>
                <a:lnTo>
                  <a:pt x="11" y="374"/>
                </a:lnTo>
                <a:lnTo>
                  <a:pt x="6" y="374"/>
                </a:lnTo>
                <a:lnTo>
                  <a:pt x="3" y="374"/>
                </a:lnTo>
                <a:lnTo>
                  <a:pt x="1" y="374"/>
                </a:lnTo>
                <a:lnTo>
                  <a:pt x="0" y="374"/>
                </a:lnTo>
                <a:lnTo>
                  <a:pt x="0" y="373"/>
                </a:lnTo>
                <a:lnTo>
                  <a:pt x="1" y="372"/>
                </a:lnTo>
                <a:lnTo>
                  <a:pt x="2" y="371"/>
                </a:lnTo>
                <a:lnTo>
                  <a:pt x="4" y="369"/>
                </a:lnTo>
                <a:lnTo>
                  <a:pt x="6" y="367"/>
                </a:lnTo>
                <a:lnTo>
                  <a:pt x="9" y="364"/>
                </a:lnTo>
                <a:lnTo>
                  <a:pt x="12" y="360"/>
                </a:lnTo>
                <a:lnTo>
                  <a:pt x="15" y="356"/>
                </a:lnTo>
                <a:lnTo>
                  <a:pt x="19" y="351"/>
                </a:lnTo>
                <a:lnTo>
                  <a:pt x="24" y="346"/>
                </a:lnTo>
                <a:lnTo>
                  <a:pt x="29" y="340"/>
                </a:lnTo>
                <a:lnTo>
                  <a:pt x="34" y="333"/>
                </a:lnTo>
                <a:lnTo>
                  <a:pt x="40" y="326"/>
                </a:lnTo>
                <a:lnTo>
                  <a:pt x="47" y="319"/>
                </a:lnTo>
                <a:lnTo>
                  <a:pt x="54" y="311"/>
                </a:lnTo>
                <a:lnTo>
                  <a:pt x="61" y="302"/>
                </a:lnTo>
                <a:lnTo>
                  <a:pt x="69" y="293"/>
                </a:lnTo>
                <a:lnTo>
                  <a:pt x="78" y="284"/>
                </a:lnTo>
                <a:lnTo>
                  <a:pt x="87" y="275"/>
                </a:lnTo>
                <a:lnTo>
                  <a:pt x="97" y="265"/>
                </a:lnTo>
                <a:lnTo>
                  <a:pt x="108" y="256"/>
                </a:lnTo>
                <a:lnTo>
                  <a:pt x="119" y="246"/>
                </a:lnTo>
                <a:lnTo>
                  <a:pt x="131" y="236"/>
                </a:lnTo>
                <a:lnTo>
                  <a:pt x="144" y="226"/>
                </a:lnTo>
                <a:lnTo>
                  <a:pt x="157" y="216"/>
                </a:lnTo>
                <a:lnTo>
                  <a:pt x="171" y="206"/>
                </a:lnTo>
                <a:lnTo>
                  <a:pt x="186" y="195"/>
                </a:lnTo>
                <a:lnTo>
                  <a:pt x="201" y="184"/>
                </a:lnTo>
                <a:lnTo>
                  <a:pt x="217" y="174"/>
                </a:lnTo>
                <a:lnTo>
                  <a:pt x="234" y="163"/>
                </a:lnTo>
                <a:lnTo>
                  <a:pt x="251" y="152"/>
                </a:lnTo>
                <a:lnTo>
                  <a:pt x="269" y="141"/>
                </a:lnTo>
                <a:lnTo>
                  <a:pt x="287" y="130"/>
                </a:lnTo>
                <a:lnTo>
                  <a:pt x="306" y="119"/>
                </a:lnTo>
                <a:lnTo>
                  <a:pt x="325" y="109"/>
                </a:lnTo>
                <a:lnTo>
                  <a:pt x="345" y="99"/>
                </a:lnTo>
                <a:lnTo>
                  <a:pt x="365" y="90"/>
                </a:lnTo>
                <a:lnTo>
                  <a:pt x="385" y="81"/>
                </a:lnTo>
                <a:lnTo>
                  <a:pt x="405" y="72"/>
                </a:lnTo>
                <a:lnTo>
                  <a:pt x="426" y="64"/>
                </a:lnTo>
                <a:lnTo>
                  <a:pt x="447" y="57"/>
                </a:lnTo>
                <a:lnTo>
                  <a:pt x="469" y="49"/>
                </a:lnTo>
                <a:lnTo>
                  <a:pt x="491" y="43"/>
                </a:lnTo>
                <a:lnTo>
                  <a:pt x="513" y="36"/>
                </a:lnTo>
                <a:lnTo>
                  <a:pt x="536" y="30"/>
                </a:lnTo>
                <a:lnTo>
                  <a:pt x="558" y="25"/>
                </a:lnTo>
                <a:lnTo>
                  <a:pt x="582" y="20"/>
                </a:lnTo>
                <a:lnTo>
                  <a:pt x="605" y="15"/>
                </a:lnTo>
                <a:lnTo>
                  <a:pt x="629" y="11"/>
                </a:lnTo>
                <a:lnTo>
                  <a:pt x="653" y="8"/>
                </a:lnTo>
                <a:lnTo>
                  <a:pt x="677" y="5"/>
                </a:lnTo>
                <a:lnTo>
                  <a:pt x="701" y="3"/>
                </a:lnTo>
                <a:lnTo>
                  <a:pt x="725" y="1"/>
                </a:lnTo>
                <a:lnTo>
                  <a:pt x="749" y="0"/>
                </a:lnTo>
                <a:lnTo>
                  <a:pt x="773" y="0"/>
                </a:lnTo>
                <a:lnTo>
                  <a:pt x="798" y="1"/>
                </a:lnTo>
                <a:lnTo>
                  <a:pt x="822" y="2"/>
                </a:lnTo>
                <a:lnTo>
                  <a:pt x="847" y="3"/>
                </a:lnTo>
                <a:lnTo>
                  <a:pt x="871" y="6"/>
                </a:lnTo>
                <a:lnTo>
                  <a:pt x="896" y="9"/>
                </a:lnTo>
                <a:lnTo>
                  <a:pt x="921" y="12"/>
                </a:lnTo>
                <a:lnTo>
                  <a:pt x="945" y="17"/>
                </a:lnTo>
                <a:lnTo>
                  <a:pt x="970" y="21"/>
                </a:lnTo>
                <a:lnTo>
                  <a:pt x="995" y="27"/>
                </a:lnTo>
                <a:lnTo>
                  <a:pt x="1020" y="33"/>
                </a:lnTo>
                <a:lnTo>
                  <a:pt x="1044" y="40"/>
                </a:lnTo>
                <a:lnTo>
                  <a:pt x="1068" y="47"/>
                </a:lnTo>
                <a:lnTo>
                  <a:pt x="1092" y="54"/>
                </a:lnTo>
                <a:lnTo>
                  <a:pt x="1115" y="62"/>
                </a:lnTo>
                <a:lnTo>
                  <a:pt x="1138" y="71"/>
                </a:lnTo>
                <a:lnTo>
                  <a:pt x="1160" y="79"/>
                </a:lnTo>
                <a:lnTo>
                  <a:pt x="1182" y="89"/>
                </a:lnTo>
                <a:lnTo>
                  <a:pt x="1204" y="98"/>
                </a:lnTo>
                <a:lnTo>
                  <a:pt x="1225" y="109"/>
                </a:lnTo>
                <a:lnTo>
                  <a:pt x="1246" y="119"/>
                </a:lnTo>
                <a:lnTo>
                  <a:pt x="1266" y="131"/>
                </a:lnTo>
                <a:lnTo>
                  <a:pt x="1286" y="142"/>
                </a:lnTo>
                <a:lnTo>
                  <a:pt x="1305" y="154"/>
                </a:lnTo>
                <a:lnTo>
                  <a:pt x="1324" y="167"/>
                </a:lnTo>
                <a:lnTo>
                  <a:pt x="1343" y="180"/>
                </a:lnTo>
                <a:lnTo>
                  <a:pt x="1361" y="193"/>
                </a:lnTo>
                <a:lnTo>
                  <a:pt x="1379" y="206"/>
                </a:lnTo>
                <a:lnTo>
                  <a:pt x="1396" y="220"/>
                </a:lnTo>
                <a:lnTo>
                  <a:pt x="1413" y="233"/>
                </a:lnTo>
                <a:lnTo>
                  <a:pt x="1429" y="246"/>
                </a:lnTo>
                <a:lnTo>
                  <a:pt x="1444" y="260"/>
                </a:lnTo>
                <a:lnTo>
                  <a:pt x="1459" y="273"/>
                </a:lnTo>
                <a:lnTo>
                  <a:pt x="1473" y="286"/>
                </a:lnTo>
                <a:lnTo>
                  <a:pt x="1487" y="300"/>
                </a:lnTo>
                <a:lnTo>
                  <a:pt x="1500" y="313"/>
                </a:lnTo>
                <a:lnTo>
                  <a:pt x="1512" y="327"/>
                </a:lnTo>
                <a:lnTo>
                  <a:pt x="1524" y="341"/>
                </a:lnTo>
                <a:lnTo>
                  <a:pt x="1536" y="354"/>
                </a:lnTo>
                <a:lnTo>
                  <a:pt x="1547" y="368"/>
                </a:lnTo>
                <a:lnTo>
                  <a:pt x="1557" y="381"/>
                </a:lnTo>
                <a:lnTo>
                  <a:pt x="1566" y="395"/>
                </a:lnTo>
                <a:lnTo>
                  <a:pt x="1576" y="408"/>
                </a:lnTo>
                <a:lnTo>
                  <a:pt x="1584" y="421"/>
                </a:lnTo>
                <a:lnTo>
                  <a:pt x="1592" y="432"/>
                </a:lnTo>
                <a:lnTo>
                  <a:pt x="1599" y="443"/>
                </a:lnTo>
                <a:lnTo>
                  <a:pt x="1606" y="453"/>
                </a:lnTo>
                <a:lnTo>
                  <a:pt x="1612" y="462"/>
                </a:lnTo>
                <a:lnTo>
                  <a:pt x="1618" y="470"/>
                </a:lnTo>
                <a:lnTo>
                  <a:pt x="1623" y="477"/>
                </a:lnTo>
                <a:lnTo>
                  <a:pt x="1627" y="484"/>
                </a:lnTo>
                <a:lnTo>
                  <a:pt x="1631" y="489"/>
                </a:lnTo>
                <a:lnTo>
                  <a:pt x="1634" y="494"/>
                </a:lnTo>
                <a:lnTo>
                  <a:pt x="1637" y="498"/>
                </a:lnTo>
                <a:lnTo>
                  <a:pt x="1639" y="501"/>
                </a:lnTo>
                <a:lnTo>
                  <a:pt x="1640" y="503"/>
                </a:lnTo>
                <a:lnTo>
                  <a:pt x="1641" y="504"/>
                </a:lnTo>
                <a:lnTo>
                  <a:pt x="1642" y="505"/>
                </a:lnTo>
                <a:lnTo>
                  <a:pt x="1642" y="504"/>
                </a:lnTo>
                <a:lnTo>
                  <a:pt x="1643" y="504"/>
                </a:lnTo>
                <a:lnTo>
                  <a:pt x="1645" y="503"/>
                </a:lnTo>
                <a:lnTo>
                  <a:pt x="1647" y="502"/>
                </a:lnTo>
                <a:lnTo>
                  <a:pt x="1649" y="500"/>
                </a:lnTo>
                <a:lnTo>
                  <a:pt x="1652" y="499"/>
                </a:lnTo>
                <a:lnTo>
                  <a:pt x="1655" y="497"/>
                </a:lnTo>
                <a:lnTo>
                  <a:pt x="1658" y="495"/>
                </a:lnTo>
                <a:lnTo>
                  <a:pt x="1662" y="492"/>
                </a:lnTo>
                <a:lnTo>
                  <a:pt x="1667" y="490"/>
                </a:lnTo>
                <a:lnTo>
                  <a:pt x="1672" y="487"/>
                </a:lnTo>
                <a:lnTo>
                  <a:pt x="1677" y="483"/>
                </a:lnTo>
                <a:lnTo>
                  <a:pt x="1683" y="480"/>
                </a:lnTo>
                <a:lnTo>
                  <a:pt x="1689" y="476"/>
                </a:lnTo>
                <a:lnTo>
                  <a:pt x="1695" y="473"/>
                </a:lnTo>
                <a:lnTo>
                  <a:pt x="1702" y="469"/>
                </a:lnTo>
                <a:lnTo>
                  <a:pt x="1708" y="465"/>
                </a:lnTo>
                <a:lnTo>
                  <a:pt x="1713" y="462"/>
                </a:lnTo>
                <a:lnTo>
                  <a:pt x="1719" y="458"/>
                </a:lnTo>
                <a:lnTo>
                  <a:pt x="1723" y="455"/>
                </a:lnTo>
                <a:lnTo>
                  <a:pt x="1728" y="453"/>
                </a:lnTo>
                <a:lnTo>
                  <a:pt x="1732" y="450"/>
                </a:lnTo>
                <a:lnTo>
                  <a:pt x="1735" y="448"/>
                </a:lnTo>
                <a:lnTo>
                  <a:pt x="1738" y="446"/>
                </a:lnTo>
                <a:lnTo>
                  <a:pt x="1741" y="445"/>
                </a:lnTo>
                <a:lnTo>
                  <a:pt x="1744" y="443"/>
                </a:lnTo>
                <a:lnTo>
                  <a:pt x="1745" y="442"/>
                </a:lnTo>
                <a:lnTo>
                  <a:pt x="1747" y="441"/>
                </a:lnTo>
                <a:lnTo>
                  <a:pt x="1748" y="441"/>
                </a:lnTo>
                <a:lnTo>
                  <a:pt x="1749" y="440"/>
                </a:lnTo>
                <a:lnTo>
                  <a:pt x="1748" y="441"/>
                </a:lnTo>
                <a:lnTo>
                  <a:pt x="1747" y="443"/>
                </a:lnTo>
                <a:lnTo>
                  <a:pt x="1745" y="448"/>
                </a:lnTo>
                <a:lnTo>
                  <a:pt x="1741" y="453"/>
                </a:lnTo>
                <a:lnTo>
                  <a:pt x="1737" y="461"/>
                </a:lnTo>
                <a:lnTo>
                  <a:pt x="1732" y="470"/>
                </a:lnTo>
                <a:lnTo>
                  <a:pt x="1726" y="480"/>
                </a:lnTo>
                <a:lnTo>
                  <a:pt x="1719" y="493"/>
                </a:lnTo>
                <a:lnTo>
                  <a:pt x="1711" y="506"/>
                </a:lnTo>
                <a:lnTo>
                  <a:pt x="1702" y="522"/>
                </a:lnTo>
                <a:lnTo>
                  <a:pt x="1693" y="539"/>
                </a:lnTo>
                <a:lnTo>
                  <a:pt x="1682" y="558"/>
                </a:lnTo>
                <a:lnTo>
                  <a:pt x="1670" y="579"/>
                </a:lnTo>
                <a:lnTo>
                  <a:pt x="1658" y="601"/>
                </a:lnTo>
                <a:lnTo>
                  <a:pt x="1644" y="624"/>
                </a:lnTo>
                <a:lnTo>
                  <a:pt x="1630" y="6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9" name="Freeform 3"/>
          <p:cNvSpPr>
            <a:spLocks/>
          </p:cNvSpPr>
          <p:nvPr/>
        </p:nvSpPr>
        <p:spPr bwMode="auto">
          <a:xfrm>
            <a:off x="4129504" y="2844495"/>
            <a:ext cx="2297112" cy="2776537"/>
          </a:xfrm>
          <a:custGeom>
            <a:avLst/>
            <a:gdLst>
              <a:gd name="T0" fmla="*/ 770909605 w 1241"/>
              <a:gd name="T1" fmla="*/ 2147483647 h 1500"/>
              <a:gd name="T2" fmla="*/ 555055202 w 1241"/>
              <a:gd name="T3" fmla="*/ 2147483647 h 1500"/>
              <a:gd name="T4" fmla="*/ 232985615 w 1241"/>
              <a:gd name="T5" fmla="*/ 2147483647 h 1500"/>
              <a:gd name="T6" fmla="*/ 41114786 w 1241"/>
              <a:gd name="T7" fmla="*/ 2147483647 h 1500"/>
              <a:gd name="T8" fmla="*/ 6852464 w 1241"/>
              <a:gd name="T9" fmla="*/ 2147483647 h 1500"/>
              <a:gd name="T10" fmla="*/ 130198686 w 1241"/>
              <a:gd name="T11" fmla="*/ 2147483647 h 1500"/>
              <a:gd name="T12" fmla="*/ 414577766 w 1241"/>
              <a:gd name="T13" fmla="*/ 2147483647 h 1500"/>
              <a:gd name="T14" fmla="*/ 698956903 w 1241"/>
              <a:gd name="T15" fmla="*/ 2147483647 h 1500"/>
              <a:gd name="T16" fmla="*/ 822303069 w 1241"/>
              <a:gd name="T17" fmla="*/ 2147483647 h 1500"/>
              <a:gd name="T18" fmla="*/ 829155531 w 1241"/>
              <a:gd name="T19" fmla="*/ 2147483647 h 1500"/>
              <a:gd name="T20" fmla="*/ 829155531 w 1241"/>
              <a:gd name="T21" fmla="*/ 2147483647 h 1500"/>
              <a:gd name="T22" fmla="*/ 829155531 w 1241"/>
              <a:gd name="T23" fmla="*/ 2147483647 h 1500"/>
              <a:gd name="T24" fmla="*/ 829155531 w 1241"/>
              <a:gd name="T25" fmla="*/ 2147483647 h 1500"/>
              <a:gd name="T26" fmla="*/ 829155531 w 1241"/>
              <a:gd name="T27" fmla="*/ 2147483647 h 1500"/>
              <a:gd name="T28" fmla="*/ 907960695 w 1241"/>
              <a:gd name="T29" fmla="*/ 2147483647 h 1500"/>
              <a:gd name="T30" fmla="*/ 1110108553 w 1241"/>
              <a:gd name="T31" fmla="*/ 2147483647 h 1500"/>
              <a:gd name="T32" fmla="*/ 1428751736 w 1241"/>
              <a:gd name="T33" fmla="*/ 2147483647 h 1500"/>
              <a:gd name="T34" fmla="*/ 1857034310 w 1241"/>
              <a:gd name="T35" fmla="*/ 2147483647 h 1500"/>
              <a:gd name="T36" fmla="*/ 2147483647 w 1241"/>
              <a:gd name="T37" fmla="*/ 2147483647 h 1500"/>
              <a:gd name="T38" fmla="*/ 2147483647 w 1241"/>
              <a:gd name="T39" fmla="*/ 2147483647 h 1500"/>
              <a:gd name="T40" fmla="*/ 2147483647 w 1241"/>
              <a:gd name="T41" fmla="*/ 2147483647 h 1500"/>
              <a:gd name="T42" fmla="*/ 2147483647 w 1241"/>
              <a:gd name="T43" fmla="*/ 2147483647 h 1500"/>
              <a:gd name="T44" fmla="*/ 2147483647 w 1241"/>
              <a:gd name="T45" fmla="*/ 2147483647 h 1500"/>
              <a:gd name="T46" fmla="*/ 2147483647 w 1241"/>
              <a:gd name="T47" fmla="*/ 1918723881 h 1500"/>
              <a:gd name="T48" fmla="*/ 2147483647 w 1241"/>
              <a:gd name="T49" fmla="*/ 1391074663 h 1500"/>
              <a:gd name="T50" fmla="*/ 2147483647 w 1241"/>
              <a:gd name="T51" fmla="*/ 918246994 h 1500"/>
              <a:gd name="T52" fmla="*/ 2147483647 w 1241"/>
              <a:gd name="T53" fmla="*/ 527649449 h 1500"/>
              <a:gd name="T54" fmla="*/ 2147483647 w 1241"/>
              <a:gd name="T55" fmla="*/ 226135966 h 1500"/>
              <a:gd name="T56" fmla="*/ 2147483647 w 1241"/>
              <a:gd name="T57" fmla="*/ 47967452 h 1500"/>
              <a:gd name="T58" fmla="*/ 2147483647 w 1241"/>
              <a:gd name="T59" fmla="*/ 3426246 h 1500"/>
              <a:gd name="T60" fmla="*/ 2147483647 w 1241"/>
              <a:gd name="T61" fmla="*/ 119920474 h 1500"/>
              <a:gd name="T62" fmla="*/ 2147483647 w 1241"/>
              <a:gd name="T63" fmla="*/ 424860116 h 1500"/>
              <a:gd name="T64" fmla="*/ 2147483647 w 1241"/>
              <a:gd name="T65" fmla="*/ 777769076 h 1500"/>
              <a:gd name="T66" fmla="*/ 2147483647 w 1241"/>
              <a:gd name="T67" fmla="*/ 949083204 h 1500"/>
              <a:gd name="T68" fmla="*/ 2147483647 w 1241"/>
              <a:gd name="T69" fmla="*/ 966214432 h 1500"/>
              <a:gd name="T70" fmla="*/ 2147483647 w 1241"/>
              <a:gd name="T71" fmla="*/ 966214432 h 1500"/>
              <a:gd name="T72" fmla="*/ 2147483647 w 1241"/>
              <a:gd name="T73" fmla="*/ 966214432 h 1500"/>
              <a:gd name="T74" fmla="*/ 2147483647 w 1241"/>
              <a:gd name="T75" fmla="*/ 966214432 h 1500"/>
              <a:gd name="T76" fmla="*/ 2147483647 w 1241"/>
              <a:gd name="T77" fmla="*/ 966214432 h 1500"/>
              <a:gd name="T78" fmla="*/ 2147483647 w 1241"/>
              <a:gd name="T79" fmla="*/ 1007329609 h 1500"/>
              <a:gd name="T80" fmla="*/ 2147483647 w 1241"/>
              <a:gd name="T81" fmla="*/ 1130676300 h 1500"/>
              <a:gd name="T82" fmla="*/ 2147483647 w 1241"/>
              <a:gd name="T83" fmla="*/ 1329402244 h 1500"/>
              <a:gd name="T84" fmla="*/ 2147483647 w 1241"/>
              <a:gd name="T85" fmla="*/ 1565815037 h 1500"/>
              <a:gd name="T86" fmla="*/ 2147483647 w 1241"/>
              <a:gd name="T87" fmla="*/ 1836492137 h 1500"/>
              <a:gd name="T88" fmla="*/ 2076315406 w 1241"/>
              <a:gd name="T89" fmla="*/ 2083185981 h 1500"/>
              <a:gd name="T90" fmla="*/ 1908427775 w 1241"/>
              <a:gd name="T91" fmla="*/ 2147483647 h 1500"/>
              <a:gd name="T92" fmla="*/ 1709704527 w 1241"/>
              <a:gd name="T93" fmla="*/ 2147483647 h 1500"/>
              <a:gd name="T94" fmla="*/ 1497276356 w 1241"/>
              <a:gd name="T95" fmla="*/ 2147483647 h 1500"/>
              <a:gd name="T96" fmla="*/ 1277995722 w 1241"/>
              <a:gd name="T97" fmla="*/ 2147483647 h 1500"/>
              <a:gd name="T98" fmla="*/ 1089551168 w 1241"/>
              <a:gd name="T99" fmla="*/ 2147483647 h 1500"/>
              <a:gd name="T100" fmla="*/ 935370542 w 1241"/>
              <a:gd name="T101" fmla="*/ 2147483647 h 1500"/>
              <a:gd name="T102" fmla="*/ 846286686 w 1241"/>
              <a:gd name="T103" fmla="*/ 2147483647 h 1500"/>
              <a:gd name="T104" fmla="*/ 829155531 w 1241"/>
              <a:gd name="T105" fmla="*/ 2147483647 h 1500"/>
              <a:gd name="T106" fmla="*/ 829155531 w 1241"/>
              <a:gd name="T107" fmla="*/ 2147483647 h 1500"/>
              <a:gd name="T108" fmla="*/ 829155531 w 1241"/>
              <a:gd name="T109" fmla="*/ 2147483647 h 1500"/>
              <a:gd name="T110" fmla="*/ 829155531 w 1241"/>
              <a:gd name="T111" fmla="*/ 2147483647 h 1500"/>
              <a:gd name="T112" fmla="*/ 829155531 w 1241"/>
              <a:gd name="T113" fmla="*/ 2147483647 h 150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41"/>
              <a:gd name="T172" fmla="*/ 0 h 1500"/>
              <a:gd name="T173" fmla="*/ 1241 w 1241"/>
              <a:gd name="T174" fmla="*/ 1500 h 150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41" h="1500">
                <a:moveTo>
                  <a:pt x="242" y="653"/>
                </a:moveTo>
                <a:lnTo>
                  <a:pt x="241" y="654"/>
                </a:lnTo>
                <a:lnTo>
                  <a:pt x="240" y="656"/>
                </a:lnTo>
                <a:lnTo>
                  <a:pt x="238" y="660"/>
                </a:lnTo>
                <a:lnTo>
                  <a:pt x="234" y="666"/>
                </a:lnTo>
                <a:lnTo>
                  <a:pt x="230" y="674"/>
                </a:lnTo>
                <a:lnTo>
                  <a:pt x="225" y="683"/>
                </a:lnTo>
                <a:lnTo>
                  <a:pt x="219" y="693"/>
                </a:lnTo>
                <a:lnTo>
                  <a:pt x="212" y="706"/>
                </a:lnTo>
                <a:lnTo>
                  <a:pt x="204" y="720"/>
                </a:lnTo>
                <a:lnTo>
                  <a:pt x="195" y="736"/>
                </a:lnTo>
                <a:lnTo>
                  <a:pt x="185" y="753"/>
                </a:lnTo>
                <a:lnTo>
                  <a:pt x="174" y="772"/>
                </a:lnTo>
                <a:lnTo>
                  <a:pt x="162" y="793"/>
                </a:lnTo>
                <a:lnTo>
                  <a:pt x="149" y="815"/>
                </a:lnTo>
                <a:lnTo>
                  <a:pt x="136" y="839"/>
                </a:lnTo>
                <a:lnTo>
                  <a:pt x="121" y="864"/>
                </a:lnTo>
                <a:lnTo>
                  <a:pt x="106" y="890"/>
                </a:lnTo>
                <a:lnTo>
                  <a:pt x="93" y="914"/>
                </a:lnTo>
                <a:lnTo>
                  <a:pt x="80" y="936"/>
                </a:lnTo>
                <a:lnTo>
                  <a:pt x="68" y="957"/>
                </a:lnTo>
                <a:lnTo>
                  <a:pt x="57" y="976"/>
                </a:lnTo>
                <a:lnTo>
                  <a:pt x="47" y="993"/>
                </a:lnTo>
                <a:lnTo>
                  <a:pt x="38" y="1009"/>
                </a:lnTo>
                <a:lnTo>
                  <a:pt x="30" y="1023"/>
                </a:lnTo>
                <a:lnTo>
                  <a:pt x="23" y="1035"/>
                </a:lnTo>
                <a:lnTo>
                  <a:pt x="17" y="1046"/>
                </a:lnTo>
                <a:lnTo>
                  <a:pt x="12" y="1055"/>
                </a:lnTo>
                <a:lnTo>
                  <a:pt x="8" y="1063"/>
                </a:lnTo>
                <a:lnTo>
                  <a:pt x="4" y="1069"/>
                </a:lnTo>
                <a:lnTo>
                  <a:pt x="2" y="1073"/>
                </a:lnTo>
                <a:lnTo>
                  <a:pt x="1" y="1075"/>
                </a:lnTo>
                <a:lnTo>
                  <a:pt x="0" y="1076"/>
                </a:lnTo>
                <a:lnTo>
                  <a:pt x="1" y="1077"/>
                </a:lnTo>
                <a:lnTo>
                  <a:pt x="2" y="1079"/>
                </a:lnTo>
                <a:lnTo>
                  <a:pt x="4" y="1083"/>
                </a:lnTo>
                <a:lnTo>
                  <a:pt x="8" y="1089"/>
                </a:lnTo>
                <a:lnTo>
                  <a:pt x="12" y="1097"/>
                </a:lnTo>
                <a:lnTo>
                  <a:pt x="17" y="1106"/>
                </a:lnTo>
                <a:lnTo>
                  <a:pt x="23" y="1116"/>
                </a:lnTo>
                <a:lnTo>
                  <a:pt x="30" y="1129"/>
                </a:lnTo>
                <a:lnTo>
                  <a:pt x="38" y="1143"/>
                </a:lnTo>
                <a:lnTo>
                  <a:pt x="47" y="1159"/>
                </a:lnTo>
                <a:lnTo>
                  <a:pt x="57" y="1176"/>
                </a:lnTo>
                <a:lnTo>
                  <a:pt x="68" y="1195"/>
                </a:lnTo>
                <a:lnTo>
                  <a:pt x="80" y="1216"/>
                </a:lnTo>
                <a:lnTo>
                  <a:pt x="93" y="1238"/>
                </a:lnTo>
                <a:lnTo>
                  <a:pt x="106" y="1262"/>
                </a:lnTo>
                <a:lnTo>
                  <a:pt x="121" y="1287"/>
                </a:lnTo>
                <a:lnTo>
                  <a:pt x="136" y="1313"/>
                </a:lnTo>
                <a:lnTo>
                  <a:pt x="149" y="1337"/>
                </a:lnTo>
                <a:lnTo>
                  <a:pt x="162" y="1359"/>
                </a:lnTo>
                <a:lnTo>
                  <a:pt x="174" y="1380"/>
                </a:lnTo>
                <a:lnTo>
                  <a:pt x="185" y="1399"/>
                </a:lnTo>
                <a:lnTo>
                  <a:pt x="195" y="1416"/>
                </a:lnTo>
                <a:lnTo>
                  <a:pt x="204" y="1432"/>
                </a:lnTo>
                <a:lnTo>
                  <a:pt x="212" y="1446"/>
                </a:lnTo>
                <a:lnTo>
                  <a:pt x="219" y="1458"/>
                </a:lnTo>
                <a:lnTo>
                  <a:pt x="225" y="1469"/>
                </a:lnTo>
                <a:lnTo>
                  <a:pt x="230" y="1478"/>
                </a:lnTo>
                <a:lnTo>
                  <a:pt x="234" y="1486"/>
                </a:lnTo>
                <a:lnTo>
                  <a:pt x="238" y="1492"/>
                </a:lnTo>
                <a:lnTo>
                  <a:pt x="240" y="1496"/>
                </a:lnTo>
                <a:lnTo>
                  <a:pt x="241" y="1498"/>
                </a:lnTo>
                <a:lnTo>
                  <a:pt x="242" y="1499"/>
                </a:lnTo>
                <a:lnTo>
                  <a:pt x="242" y="1498"/>
                </a:lnTo>
                <a:lnTo>
                  <a:pt x="242" y="1497"/>
                </a:lnTo>
                <a:lnTo>
                  <a:pt x="242" y="1495"/>
                </a:lnTo>
                <a:lnTo>
                  <a:pt x="242" y="1492"/>
                </a:lnTo>
                <a:lnTo>
                  <a:pt x="242" y="1490"/>
                </a:lnTo>
                <a:lnTo>
                  <a:pt x="242" y="1486"/>
                </a:lnTo>
                <a:lnTo>
                  <a:pt x="242" y="1482"/>
                </a:lnTo>
                <a:lnTo>
                  <a:pt x="242" y="1478"/>
                </a:lnTo>
                <a:lnTo>
                  <a:pt x="242" y="1473"/>
                </a:lnTo>
                <a:lnTo>
                  <a:pt x="242" y="1467"/>
                </a:lnTo>
                <a:lnTo>
                  <a:pt x="242" y="1462"/>
                </a:lnTo>
                <a:lnTo>
                  <a:pt x="242" y="1455"/>
                </a:lnTo>
                <a:lnTo>
                  <a:pt x="242" y="1448"/>
                </a:lnTo>
                <a:lnTo>
                  <a:pt x="242" y="1440"/>
                </a:lnTo>
                <a:lnTo>
                  <a:pt x="242" y="1432"/>
                </a:lnTo>
                <a:lnTo>
                  <a:pt x="242" y="1424"/>
                </a:lnTo>
                <a:lnTo>
                  <a:pt x="242" y="1417"/>
                </a:lnTo>
                <a:lnTo>
                  <a:pt x="242" y="1410"/>
                </a:lnTo>
                <a:lnTo>
                  <a:pt x="242" y="1403"/>
                </a:lnTo>
                <a:lnTo>
                  <a:pt x="242" y="1397"/>
                </a:lnTo>
                <a:lnTo>
                  <a:pt x="242" y="1392"/>
                </a:lnTo>
                <a:lnTo>
                  <a:pt x="242" y="1387"/>
                </a:lnTo>
                <a:lnTo>
                  <a:pt x="242" y="1382"/>
                </a:lnTo>
                <a:lnTo>
                  <a:pt x="242" y="1379"/>
                </a:lnTo>
                <a:lnTo>
                  <a:pt x="242" y="1375"/>
                </a:lnTo>
                <a:lnTo>
                  <a:pt x="242" y="1372"/>
                </a:lnTo>
                <a:lnTo>
                  <a:pt x="242" y="1370"/>
                </a:lnTo>
                <a:lnTo>
                  <a:pt x="242" y="1368"/>
                </a:lnTo>
                <a:lnTo>
                  <a:pt x="242" y="1367"/>
                </a:lnTo>
                <a:lnTo>
                  <a:pt x="242" y="1366"/>
                </a:lnTo>
                <a:lnTo>
                  <a:pt x="243" y="1366"/>
                </a:lnTo>
                <a:lnTo>
                  <a:pt x="245" y="1366"/>
                </a:lnTo>
                <a:lnTo>
                  <a:pt x="248" y="1366"/>
                </a:lnTo>
                <a:lnTo>
                  <a:pt x="251" y="1365"/>
                </a:lnTo>
                <a:lnTo>
                  <a:pt x="255" y="1365"/>
                </a:lnTo>
                <a:lnTo>
                  <a:pt x="260" y="1365"/>
                </a:lnTo>
                <a:lnTo>
                  <a:pt x="265" y="1365"/>
                </a:lnTo>
                <a:lnTo>
                  <a:pt x="271" y="1365"/>
                </a:lnTo>
                <a:lnTo>
                  <a:pt x="278" y="1364"/>
                </a:lnTo>
                <a:lnTo>
                  <a:pt x="286" y="1364"/>
                </a:lnTo>
                <a:lnTo>
                  <a:pt x="295" y="1364"/>
                </a:lnTo>
                <a:lnTo>
                  <a:pt x="304" y="1363"/>
                </a:lnTo>
                <a:lnTo>
                  <a:pt x="314" y="1363"/>
                </a:lnTo>
                <a:lnTo>
                  <a:pt x="324" y="1362"/>
                </a:lnTo>
                <a:lnTo>
                  <a:pt x="335" y="1362"/>
                </a:lnTo>
                <a:lnTo>
                  <a:pt x="347" y="1361"/>
                </a:lnTo>
                <a:lnTo>
                  <a:pt x="360" y="1360"/>
                </a:lnTo>
                <a:lnTo>
                  <a:pt x="373" y="1358"/>
                </a:lnTo>
                <a:lnTo>
                  <a:pt x="387" y="1356"/>
                </a:lnTo>
                <a:lnTo>
                  <a:pt x="402" y="1354"/>
                </a:lnTo>
                <a:lnTo>
                  <a:pt x="417" y="1351"/>
                </a:lnTo>
                <a:lnTo>
                  <a:pt x="433" y="1347"/>
                </a:lnTo>
                <a:lnTo>
                  <a:pt x="450" y="1343"/>
                </a:lnTo>
                <a:lnTo>
                  <a:pt x="467" y="1339"/>
                </a:lnTo>
                <a:lnTo>
                  <a:pt x="485" y="1334"/>
                </a:lnTo>
                <a:lnTo>
                  <a:pt x="503" y="1329"/>
                </a:lnTo>
                <a:lnTo>
                  <a:pt x="522" y="1323"/>
                </a:lnTo>
                <a:lnTo>
                  <a:pt x="542" y="1317"/>
                </a:lnTo>
                <a:lnTo>
                  <a:pt x="563" y="1310"/>
                </a:lnTo>
                <a:lnTo>
                  <a:pt x="584" y="1303"/>
                </a:lnTo>
                <a:lnTo>
                  <a:pt x="605" y="1295"/>
                </a:lnTo>
                <a:lnTo>
                  <a:pt x="627" y="1287"/>
                </a:lnTo>
                <a:lnTo>
                  <a:pt x="649" y="1278"/>
                </a:lnTo>
                <a:lnTo>
                  <a:pt x="671" y="1269"/>
                </a:lnTo>
                <a:lnTo>
                  <a:pt x="692" y="1258"/>
                </a:lnTo>
                <a:lnTo>
                  <a:pt x="714" y="1247"/>
                </a:lnTo>
                <a:lnTo>
                  <a:pt x="735" y="1236"/>
                </a:lnTo>
                <a:lnTo>
                  <a:pt x="756" y="1223"/>
                </a:lnTo>
                <a:lnTo>
                  <a:pt x="777" y="1210"/>
                </a:lnTo>
                <a:lnTo>
                  <a:pt x="798" y="1197"/>
                </a:lnTo>
                <a:lnTo>
                  <a:pt x="818" y="1182"/>
                </a:lnTo>
                <a:lnTo>
                  <a:pt x="839" y="1167"/>
                </a:lnTo>
                <a:lnTo>
                  <a:pt x="859" y="1151"/>
                </a:lnTo>
                <a:lnTo>
                  <a:pt x="879" y="1135"/>
                </a:lnTo>
                <a:lnTo>
                  <a:pt x="899" y="1117"/>
                </a:lnTo>
                <a:lnTo>
                  <a:pt x="919" y="1099"/>
                </a:lnTo>
                <a:lnTo>
                  <a:pt x="939" y="1081"/>
                </a:lnTo>
                <a:lnTo>
                  <a:pt x="958" y="1062"/>
                </a:lnTo>
                <a:lnTo>
                  <a:pt x="977" y="1042"/>
                </a:lnTo>
                <a:lnTo>
                  <a:pt x="995" y="1022"/>
                </a:lnTo>
                <a:lnTo>
                  <a:pt x="1012" y="1002"/>
                </a:lnTo>
                <a:lnTo>
                  <a:pt x="1029" y="981"/>
                </a:lnTo>
                <a:lnTo>
                  <a:pt x="1045" y="960"/>
                </a:lnTo>
                <a:lnTo>
                  <a:pt x="1060" y="939"/>
                </a:lnTo>
                <a:lnTo>
                  <a:pt x="1075" y="917"/>
                </a:lnTo>
                <a:lnTo>
                  <a:pt x="1089" y="895"/>
                </a:lnTo>
                <a:lnTo>
                  <a:pt x="1103" y="872"/>
                </a:lnTo>
                <a:lnTo>
                  <a:pt x="1116" y="849"/>
                </a:lnTo>
                <a:lnTo>
                  <a:pt x="1128" y="826"/>
                </a:lnTo>
                <a:lnTo>
                  <a:pt x="1139" y="802"/>
                </a:lnTo>
                <a:lnTo>
                  <a:pt x="1150" y="778"/>
                </a:lnTo>
                <a:lnTo>
                  <a:pt x="1160" y="753"/>
                </a:lnTo>
                <a:lnTo>
                  <a:pt x="1170" y="728"/>
                </a:lnTo>
                <a:lnTo>
                  <a:pt x="1179" y="703"/>
                </a:lnTo>
                <a:lnTo>
                  <a:pt x="1187" y="679"/>
                </a:lnTo>
                <a:lnTo>
                  <a:pt x="1195" y="654"/>
                </a:lnTo>
                <a:lnTo>
                  <a:pt x="1202" y="630"/>
                </a:lnTo>
                <a:lnTo>
                  <a:pt x="1209" y="607"/>
                </a:lnTo>
                <a:lnTo>
                  <a:pt x="1215" y="583"/>
                </a:lnTo>
                <a:lnTo>
                  <a:pt x="1220" y="560"/>
                </a:lnTo>
                <a:lnTo>
                  <a:pt x="1224" y="537"/>
                </a:lnTo>
                <a:lnTo>
                  <a:pt x="1229" y="514"/>
                </a:lnTo>
                <a:lnTo>
                  <a:pt x="1232" y="492"/>
                </a:lnTo>
                <a:lnTo>
                  <a:pt x="1235" y="470"/>
                </a:lnTo>
                <a:lnTo>
                  <a:pt x="1237" y="448"/>
                </a:lnTo>
                <a:lnTo>
                  <a:pt x="1239" y="427"/>
                </a:lnTo>
                <a:lnTo>
                  <a:pt x="1240" y="406"/>
                </a:lnTo>
                <a:lnTo>
                  <a:pt x="1240" y="385"/>
                </a:lnTo>
                <a:lnTo>
                  <a:pt x="1240" y="364"/>
                </a:lnTo>
                <a:lnTo>
                  <a:pt x="1239" y="344"/>
                </a:lnTo>
                <a:lnTo>
                  <a:pt x="1239" y="324"/>
                </a:lnTo>
                <a:lnTo>
                  <a:pt x="1238" y="305"/>
                </a:lnTo>
                <a:lnTo>
                  <a:pt x="1236" y="286"/>
                </a:lnTo>
                <a:lnTo>
                  <a:pt x="1235" y="268"/>
                </a:lnTo>
                <a:lnTo>
                  <a:pt x="1233" y="250"/>
                </a:lnTo>
                <a:lnTo>
                  <a:pt x="1231" y="233"/>
                </a:lnTo>
                <a:lnTo>
                  <a:pt x="1229" y="216"/>
                </a:lnTo>
                <a:lnTo>
                  <a:pt x="1227" y="200"/>
                </a:lnTo>
                <a:lnTo>
                  <a:pt x="1224" y="184"/>
                </a:lnTo>
                <a:lnTo>
                  <a:pt x="1222" y="169"/>
                </a:lnTo>
                <a:lnTo>
                  <a:pt x="1219" y="154"/>
                </a:lnTo>
                <a:lnTo>
                  <a:pt x="1215" y="140"/>
                </a:lnTo>
                <a:lnTo>
                  <a:pt x="1212" y="126"/>
                </a:lnTo>
                <a:lnTo>
                  <a:pt x="1208" y="113"/>
                </a:lnTo>
                <a:lnTo>
                  <a:pt x="1204" y="100"/>
                </a:lnTo>
                <a:lnTo>
                  <a:pt x="1200" y="88"/>
                </a:lnTo>
                <a:lnTo>
                  <a:pt x="1197" y="77"/>
                </a:lnTo>
                <a:lnTo>
                  <a:pt x="1194" y="66"/>
                </a:lnTo>
                <a:lnTo>
                  <a:pt x="1190" y="57"/>
                </a:lnTo>
                <a:lnTo>
                  <a:pt x="1188" y="48"/>
                </a:lnTo>
                <a:lnTo>
                  <a:pt x="1185" y="39"/>
                </a:lnTo>
                <a:lnTo>
                  <a:pt x="1183" y="32"/>
                </a:lnTo>
                <a:lnTo>
                  <a:pt x="1180" y="25"/>
                </a:lnTo>
                <a:lnTo>
                  <a:pt x="1179" y="19"/>
                </a:lnTo>
                <a:lnTo>
                  <a:pt x="1177" y="14"/>
                </a:lnTo>
                <a:lnTo>
                  <a:pt x="1176" y="10"/>
                </a:lnTo>
                <a:lnTo>
                  <a:pt x="1174" y="7"/>
                </a:lnTo>
                <a:lnTo>
                  <a:pt x="1174" y="4"/>
                </a:lnTo>
                <a:lnTo>
                  <a:pt x="1173" y="2"/>
                </a:lnTo>
                <a:lnTo>
                  <a:pt x="1173" y="1"/>
                </a:lnTo>
                <a:lnTo>
                  <a:pt x="1173" y="0"/>
                </a:lnTo>
                <a:lnTo>
                  <a:pt x="1172" y="1"/>
                </a:lnTo>
                <a:lnTo>
                  <a:pt x="1171" y="2"/>
                </a:lnTo>
                <a:lnTo>
                  <a:pt x="1170" y="5"/>
                </a:lnTo>
                <a:lnTo>
                  <a:pt x="1167" y="9"/>
                </a:lnTo>
                <a:lnTo>
                  <a:pt x="1165" y="14"/>
                </a:lnTo>
                <a:lnTo>
                  <a:pt x="1161" y="20"/>
                </a:lnTo>
                <a:lnTo>
                  <a:pt x="1157" y="27"/>
                </a:lnTo>
                <a:lnTo>
                  <a:pt x="1152" y="35"/>
                </a:lnTo>
                <a:lnTo>
                  <a:pt x="1147" y="45"/>
                </a:lnTo>
                <a:lnTo>
                  <a:pt x="1141" y="55"/>
                </a:lnTo>
                <a:lnTo>
                  <a:pt x="1134" y="67"/>
                </a:lnTo>
                <a:lnTo>
                  <a:pt x="1126" y="80"/>
                </a:lnTo>
                <a:lnTo>
                  <a:pt x="1118" y="93"/>
                </a:lnTo>
                <a:lnTo>
                  <a:pt x="1110" y="108"/>
                </a:lnTo>
                <a:lnTo>
                  <a:pt x="1101" y="124"/>
                </a:lnTo>
                <a:lnTo>
                  <a:pt x="1091" y="141"/>
                </a:lnTo>
                <a:lnTo>
                  <a:pt x="1081" y="158"/>
                </a:lnTo>
                <a:lnTo>
                  <a:pt x="1071" y="174"/>
                </a:lnTo>
                <a:lnTo>
                  <a:pt x="1063" y="189"/>
                </a:lnTo>
                <a:lnTo>
                  <a:pt x="1055" y="203"/>
                </a:lnTo>
                <a:lnTo>
                  <a:pt x="1047" y="216"/>
                </a:lnTo>
                <a:lnTo>
                  <a:pt x="1041" y="227"/>
                </a:lnTo>
                <a:lnTo>
                  <a:pt x="1035" y="238"/>
                </a:lnTo>
                <a:lnTo>
                  <a:pt x="1029" y="247"/>
                </a:lnTo>
                <a:lnTo>
                  <a:pt x="1024" y="255"/>
                </a:lnTo>
                <a:lnTo>
                  <a:pt x="1020" y="262"/>
                </a:lnTo>
                <a:lnTo>
                  <a:pt x="1017" y="268"/>
                </a:lnTo>
                <a:lnTo>
                  <a:pt x="1014" y="273"/>
                </a:lnTo>
                <a:lnTo>
                  <a:pt x="1012" y="277"/>
                </a:lnTo>
                <a:lnTo>
                  <a:pt x="1010" y="280"/>
                </a:lnTo>
                <a:lnTo>
                  <a:pt x="1009" y="282"/>
                </a:lnTo>
                <a:lnTo>
                  <a:pt x="1008" y="282"/>
                </a:lnTo>
                <a:lnTo>
                  <a:pt x="1006" y="282"/>
                </a:lnTo>
                <a:lnTo>
                  <a:pt x="1003" y="282"/>
                </a:lnTo>
                <a:lnTo>
                  <a:pt x="998" y="282"/>
                </a:lnTo>
                <a:lnTo>
                  <a:pt x="992" y="282"/>
                </a:lnTo>
                <a:lnTo>
                  <a:pt x="985" y="282"/>
                </a:lnTo>
                <a:lnTo>
                  <a:pt x="977" y="282"/>
                </a:lnTo>
                <a:lnTo>
                  <a:pt x="967" y="282"/>
                </a:lnTo>
                <a:lnTo>
                  <a:pt x="956" y="282"/>
                </a:lnTo>
                <a:lnTo>
                  <a:pt x="943" y="282"/>
                </a:lnTo>
                <a:lnTo>
                  <a:pt x="929" y="282"/>
                </a:lnTo>
                <a:lnTo>
                  <a:pt x="914" y="282"/>
                </a:lnTo>
                <a:lnTo>
                  <a:pt x="898" y="282"/>
                </a:lnTo>
                <a:lnTo>
                  <a:pt x="880" y="282"/>
                </a:lnTo>
                <a:lnTo>
                  <a:pt x="861" y="282"/>
                </a:lnTo>
                <a:lnTo>
                  <a:pt x="841" y="282"/>
                </a:lnTo>
                <a:lnTo>
                  <a:pt x="821" y="282"/>
                </a:lnTo>
                <a:lnTo>
                  <a:pt x="802" y="282"/>
                </a:lnTo>
                <a:lnTo>
                  <a:pt x="784" y="282"/>
                </a:lnTo>
                <a:lnTo>
                  <a:pt x="768" y="282"/>
                </a:lnTo>
                <a:lnTo>
                  <a:pt x="753" y="282"/>
                </a:lnTo>
                <a:lnTo>
                  <a:pt x="739" y="282"/>
                </a:lnTo>
                <a:lnTo>
                  <a:pt x="726" y="282"/>
                </a:lnTo>
                <a:lnTo>
                  <a:pt x="715" y="282"/>
                </a:lnTo>
                <a:lnTo>
                  <a:pt x="705" y="282"/>
                </a:lnTo>
                <a:lnTo>
                  <a:pt x="697" y="282"/>
                </a:lnTo>
                <a:lnTo>
                  <a:pt x="690" y="282"/>
                </a:lnTo>
                <a:lnTo>
                  <a:pt x="684" y="282"/>
                </a:lnTo>
                <a:lnTo>
                  <a:pt x="679" y="282"/>
                </a:lnTo>
                <a:lnTo>
                  <a:pt x="676" y="282"/>
                </a:lnTo>
                <a:lnTo>
                  <a:pt x="674" y="282"/>
                </a:lnTo>
                <a:lnTo>
                  <a:pt x="673" y="282"/>
                </a:lnTo>
                <a:lnTo>
                  <a:pt x="673" y="283"/>
                </a:lnTo>
                <a:lnTo>
                  <a:pt x="674" y="284"/>
                </a:lnTo>
                <a:lnTo>
                  <a:pt x="674" y="286"/>
                </a:lnTo>
                <a:lnTo>
                  <a:pt x="674" y="288"/>
                </a:lnTo>
                <a:lnTo>
                  <a:pt x="674" y="291"/>
                </a:lnTo>
                <a:lnTo>
                  <a:pt x="674" y="294"/>
                </a:lnTo>
                <a:lnTo>
                  <a:pt x="675" y="298"/>
                </a:lnTo>
                <a:lnTo>
                  <a:pt x="675" y="302"/>
                </a:lnTo>
                <a:lnTo>
                  <a:pt x="676" y="307"/>
                </a:lnTo>
                <a:lnTo>
                  <a:pt x="676" y="312"/>
                </a:lnTo>
                <a:lnTo>
                  <a:pt x="676" y="318"/>
                </a:lnTo>
                <a:lnTo>
                  <a:pt x="677" y="324"/>
                </a:lnTo>
                <a:lnTo>
                  <a:pt x="678" y="330"/>
                </a:lnTo>
                <a:lnTo>
                  <a:pt x="678" y="338"/>
                </a:lnTo>
                <a:lnTo>
                  <a:pt x="679" y="345"/>
                </a:lnTo>
                <a:lnTo>
                  <a:pt x="679" y="353"/>
                </a:lnTo>
                <a:lnTo>
                  <a:pt x="680" y="361"/>
                </a:lnTo>
                <a:lnTo>
                  <a:pt x="680" y="370"/>
                </a:lnTo>
                <a:lnTo>
                  <a:pt x="680" y="379"/>
                </a:lnTo>
                <a:lnTo>
                  <a:pt x="679" y="388"/>
                </a:lnTo>
                <a:lnTo>
                  <a:pt x="678" y="397"/>
                </a:lnTo>
                <a:lnTo>
                  <a:pt x="677" y="406"/>
                </a:lnTo>
                <a:lnTo>
                  <a:pt x="676" y="416"/>
                </a:lnTo>
                <a:lnTo>
                  <a:pt x="674" y="426"/>
                </a:lnTo>
                <a:lnTo>
                  <a:pt x="672" y="436"/>
                </a:lnTo>
                <a:lnTo>
                  <a:pt x="670" y="446"/>
                </a:lnTo>
                <a:lnTo>
                  <a:pt x="668" y="457"/>
                </a:lnTo>
                <a:lnTo>
                  <a:pt x="665" y="468"/>
                </a:lnTo>
                <a:lnTo>
                  <a:pt x="662" y="479"/>
                </a:lnTo>
                <a:lnTo>
                  <a:pt x="659" y="491"/>
                </a:lnTo>
                <a:lnTo>
                  <a:pt x="655" y="502"/>
                </a:lnTo>
                <a:lnTo>
                  <a:pt x="651" y="514"/>
                </a:lnTo>
                <a:lnTo>
                  <a:pt x="647" y="525"/>
                </a:lnTo>
                <a:lnTo>
                  <a:pt x="643" y="536"/>
                </a:lnTo>
                <a:lnTo>
                  <a:pt x="639" y="547"/>
                </a:lnTo>
                <a:lnTo>
                  <a:pt x="634" y="558"/>
                </a:lnTo>
                <a:lnTo>
                  <a:pt x="629" y="569"/>
                </a:lnTo>
                <a:lnTo>
                  <a:pt x="623" y="579"/>
                </a:lnTo>
                <a:lnTo>
                  <a:pt x="618" y="589"/>
                </a:lnTo>
                <a:lnTo>
                  <a:pt x="612" y="599"/>
                </a:lnTo>
                <a:lnTo>
                  <a:pt x="606" y="608"/>
                </a:lnTo>
                <a:lnTo>
                  <a:pt x="600" y="618"/>
                </a:lnTo>
                <a:lnTo>
                  <a:pt x="593" y="627"/>
                </a:lnTo>
                <a:lnTo>
                  <a:pt x="586" y="636"/>
                </a:lnTo>
                <a:lnTo>
                  <a:pt x="579" y="644"/>
                </a:lnTo>
                <a:lnTo>
                  <a:pt x="572" y="653"/>
                </a:lnTo>
                <a:lnTo>
                  <a:pt x="565" y="661"/>
                </a:lnTo>
                <a:lnTo>
                  <a:pt x="557" y="669"/>
                </a:lnTo>
                <a:lnTo>
                  <a:pt x="549" y="677"/>
                </a:lnTo>
                <a:lnTo>
                  <a:pt x="541" y="684"/>
                </a:lnTo>
                <a:lnTo>
                  <a:pt x="533" y="691"/>
                </a:lnTo>
                <a:lnTo>
                  <a:pt x="525" y="698"/>
                </a:lnTo>
                <a:lnTo>
                  <a:pt x="516" y="705"/>
                </a:lnTo>
                <a:lnTo>
                  <a:pt x="508" y="712"/>
                </a:lnTo>
                <a:lnTo>
                  <a:pt x="499" y="718"/>
                </a:lnTo>
                <a:lnTo>
                  <a:pt x="491" y="724"/>
                </a:lnTo>
                <a:lnTo>
                  <a:pt x="482" y="730"/>
                </a:lnTo>
                <a:lnTo>
                  <a:pt x="473" y="735"/>
                </a:lnTo>
                <a:lnTo>
                  <a:pt x="464" y="741"/>
                </a:lnTo>
                <a:lnTo>
                  <a:pt x="455" y="746"/>
                </a:lnTo>
                <a:lnTo>
                  <a:pt x="446" y="751"/>
                </a:lnTo>
                <a:lnTo>
                  <a:pt x="437" y="755"/>
                </a:lnTo>
                <a:lnTo>
                  <a:pt x="427" y="760"/>
                </a:lnTo>
                <a:lnTo>
                  <a:pt x="418" y="764"/>
                </a:lnTo>
                <a:lnTo>
                  <a:pt x="408" y="768"/>
                </a:lnTo>
                <a:lnTo>
                  <a:pt x="399" y="772"/>
                </a:lnTo>
                <a:lnTo>
                  <a:pt x="390" y="775"/>
                </a:lnTo>
                <a:lnTo>
                  <a:pt x="382" y="778"/>
                </a:lnTo>
                <a:lnTo>
                  <a:pt x="373" y="781"/>
                </a:lnTo>
                <a:lnTo>
                  <a:pt x="365" y="784"/>
                </a:lnTo>
                <a:lnTo>
                  <a:pt x="356" y="786"/>
                </a:lnTo>
                <a:lnTo>
                  <a:pt x="348" y="789"/>
                </a:lnTo>
                <a:lnTo>
                  <a:pt x="340" y="791"/>
                </a:lnTo>
                <a:lnTo>
                  <a:pt x="333" y="792"/>
                </a:lnTo>
                <a:lnTo>
                  <a:pt x="325" y="794"/>
                </a:lnTo>
                <a:lnTo>
                  <a:pt x="318" y="795"/>
                </a:lnTo>
                <a:lnTo>
                  <a:pt x="310" y="796"/>
                </a:lnTo>
                <a:lnTo>
                  <a:pt x="303" y="797"/>
                </a:lnTo>
                <a:lnTo>
                  <a:pt x="296" y="798"/>
                </a:lnTo>
                <a:lnTo>
                  <a:pt x="290" y="798"/>
                </a:lnTo>
                <a:lnTo>
                  <a:pt x="284" y="799"/>
                </a:lnTo>
                <a:lnTo>
                  <a:pt x="278" y="799"/>
                </a:lnTo>
                <a:lnTo>
                  <a:pt x="273" y="800"/>
                </a:lnTo>
                <a:lnTo>
                  <a:pt x="268" y="800"/>
                </a:lnTo>
                <a:lnTo>
                  <a:pt x="263" y="800"/>
                </a:lnTo>
                <a:lnTo>
                  <a:pt x="259" y="801"/>
                </a:lnTo>
                <a:lnTo>
                  <a:pt x="256" y="801"/>
                </a:lnTo>
                <a:lnTo>
                  <a:pt x="252" y="801"/>
                </a:lnTo>
                <a:lnTo>
                  <a:pt x="250" y="801"/>
                </a:lnTo>
                <a:lnTo>
                  <a:pt x="247" y="801"/>
                </a:lnTo>
                <a:lnTo>
                  <a:pt x="245" y="802"/>
                </a:lnTo>
                <a:lnTo>
                  <a:pt x="244" y="802"/>
                </a:lnTo>
                <a:lnTo>
                  <a:pt x="243" y="802"/>
                </a:lnTo>
                <a:lnTo>
                  <a:pt x="242" y="802"/>
                </a:lnTo>
                <a:lnTo>
                  <a:pt x="242" y="801"/>
                </a:lnTo>
                <a:lnTo>
                  <a:pt x="242" y="799"/>
                </a:lnTo>
                <a:lnTo>
                  <a:pt x="242" y="797"/>
                </a:lnTo>
                <a:lnTo>
                  <a:pt x="242" y="795"/>
                </a:lnTo>
                <a:lnTo>
                  <a:pt x="242" y="791"/>
                </a:lnTo>
                <a:lnTo>
                  <a:pt x="242" y="788"/>
                </a:lnTo>
                <a:lnTo>
                  <a:pt x="242" y="783"/>
                </a:lnTo>
                <a:lnTo>
                  <a:pt x="242" y="778"/>
                </a:lnTo>
                <a:lnTo>
                  <a:pt x="242" y="773"/>
                </a:lnTo>
                <a:lnTo>
                  <a:pt x="242" y="767"/>
                </a:lnTo>
                <a:lnTo>
                  <a:pt x="242" y="760"/>
                </a:lnTo>
                <a:lnTo>
                  <a:pt x="242" y="753"/>
                </a:lnTo>
                <a:lnTo>
                  <a:pt x="242" y="745"/>
                </a:lnTo>
                <a:lnTo>
                  <a:pt x="242" y="736"/>
                </a:lnTo>
                <a:lnTo>
                  <a:pt x="242" y="727"/>
                </a:lnTo>
                <a:lnTo>
                  <a:pt x="242" y="718"/>
                </a:lnTo>
                <a:lnTo>
                  <a:pt x="242" y="710"/>
                </a:lnTo>
                <a:lnTo>
                  <a:pt x="242" y="702"/>
                </a:lnTo>
                <a:lnTo>
                  <a:pt x="242" y="695"/>
                </a:lnTo>
                <a:lnTo>
                  <a:pt x="242" y="688"/>
                </a:lnTo>
                <a:lnTo>
                  <a:pt x="242" y="682"/>
                </a:lnTo>
                <a:lnTo>
                  <a:pt x="242" y="677"/>
                </a:lnTo>
                <a:lnTo>
                  <a:pt x="242" y="672"/>
                </a:lnTo>
                <a:lnTo>
                  <a:pt x="242" y="667"/>
                </a:lnTo>
                <a:lnTo>
                  <a:pt x="242" y="663"/>
                </a:lnTo>
                <a:lnTo>
                  <a:pt x="242" y="660"/>
                </a:lnTo>
                <a:lnTo>
                  <a:pt x="242" y="658"/>
                </a:lnTo>
                <a:lnTo>
                  <a:pt x="242" y="656"/>
                </a:lnTo>
                <a:lnTo>
                  <a:pt x="242" y="654"/>
                </a:lnTo>
                <a:lnTo>
                  <a:pt x="242" y="653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0" name="Freeform 4"/>
          <p:cNvSpPr>
            <a:spLocks/>
          </p:cNvSpPr>
          <p:nvPr/>
        </p:nvSpPr>
        <p:spPr bwMode="auto">
          <a:xfrm>
            <a:off x="2729329" y="2469845"/>
            <a:ext cx="1552575" cy="2874962"/>
          </a:xfrm>
          <a:custGeom>
            <a:avLst/>
            <a:gdLst>
              <a:gd name="T0" fmla="*/ 1931347685 w 839"/>
              <a:gd name="T1" fmla="*/ 338842216 h 1554"/>
              <a:gd name="T2" fmla="*/ 1777250498 w 839"/>
              <a:gd name="T3" fmla="*/ 68453334 h 1554"/>
              <a:gd name="T4" fmla="*/ 1736158161 w 839"/>
              <a:gd name="T5" fmla="*/ 0 h 1554"/>
              <a:gd name="T6" fmla="*/ 1578635687 w 839"/>
              <a:gd name="T7" fmla="*/ 0 h 1554"/>
              <a:gd name="T8" fmla="*/ 1188258489 w 839"/>
              <a:gd name="T9" fmla="*/ 0 h 1554"/>
              <a:gd name="T10" fmla="*/ 623235854 w 839"/>
              <a:gd name="T11" fmla="*/ 0 h 1554"/>
              <a:gd name="T12" fmla="*/ 232856632 w 839"/>
              <a:gd name="T13" fmla="*/ 0 h 1554"/>
              <a:gd name="T14" fmla="*/ 75335979 w 839"/>
              <a:gd name="T15" fmla="*/ 0 h 1554"/>
              <a:gd name="T16" fmla="*/ 92458712 w 839"/>
              <a:gd name="T17" fmla="*/ 10267722 h 1554"/>
              <a:gd name="T18" fmla="*/ 164369404 w 839"/>
              <a:gd name="T19" fmla="*/ 51340456 h 1554"/>
              <a:gd name="T20" fmla="*/ 287648322 w 839"/>
              <a:gd name="T21" fmla="*/ 123214526 h 1554"/>
              <a:gd name="T22" fmla="*/ 397227887 w 839"/>
              <a:gd name="T23" fmla="*/ 188245258 h 1554"/>
              <a:gd name="T24" fmla="*/ 448592382 w 839"/>
              <a:gd name="T25" fmla="*/ 219050263 h 1554"/>
              <a:gd name="T26" fmla="*/ 448592382 w 839"/>
              <a:gd name="T27" fmla="*/ 236163127 h 1554"/>
              <a:gd name="T28" fmla="*/ 393802600 w 839"/>
              <a:gd name="T29" fmla="*/ 352532507 h 1554"/>
              <a:gd name="T30" fmla="*/ 287648322 w 839"/>
              <a:gd name="T31" fmla="*/ 581850546 h 1554"/>
              <a:gd name="T32" fmla="*/ 154097245 w 839"/>
              <a:gd name="T33" fmla="*/ 920692647 h 1554"/>
              <a:gd name="T34" fmla="*/ 58215083 w 839"/>
              <a:gd name="T35" fmla="*/ 1358791439 h 1554"/>
              <a:gd name="T36" fmla="*/ 3425288 w 839"/>
              <a:gd name="T37" fmla="*/ 1892723885 h 1554"/>
              <a:gd name="T38" fmla="*/ 37668915 w 839"/>
              <a:gd name="T39" fmla="*/ 2147483647 h 1554"/>
              <a:gd name="T40" fmla="*/ 191764295 w 839"/>
              <a:gd name="T41" fmla="*/ 2147483647 h 1554"/>
              <a:gd name="T42" fmla="*/ 462289828 w 839"/>
              <a:gd name="T43" fmla="*/ 2147483647 h 1554"/>
              <a:gd name="T44" fmla="*/ 821850665 w 839"/>
              <a:gd name="T45" fmla="*/ 2147483647 h 1554"/>
              <a:gd name="T46" fmla="*/ 1263594440 w 839"/>
              <a:gd name="T47" fmla="*/ 2147483647 h 1554"/>
              <a:gd name="T48" fmla="*/ 1732732875 w 839"/>
              <a:gd name="T49" fmla="*/ 2147483647 h 1554"/>
              <a:gd name="T50" fmla="*/ 2129961108 w 839"/>
              <a:gd name="T51" fmla="*/ 2147483647 h 1554"/>
              <a:gd name="T52" fmla="*/ 2147483647 w 839"/>
              <a:gd name="T53" fmla="*/ 2147483647 h 1554"/>
              <a:gd name="T54" fmla="*/ 2147483647 w 839"/>
              <a:gd name="T55" fmla="*/ 2147483647 h 1554"/>
              <a:gd name="T56" fmla="*/ 2147483647 w 839"/>
              <a:gd name="T57" fmla="*/ 2147483647 h 1554"/>
              <a:gd name="T58" fmla="*/ 2147483647 w 839"/>
              <a:gd name="T59" fmla="*/ 2147483647 h 1554"/>
              <a:gd name="T60" fmla="*/ 2147483647 w 839"/>
              <a:gd name="T61" fmla="*/ 2147483647 h 1554"/>
              <a:gd name="T62" fmla="*/ 2147483647 w 839"/>
              <a:gd name="T63" fmla="*/ 2147483647 h 1554"/>
              <a:gd name="T64" fmla="*/ 2147483647 w 839"/>
              <a:gd name="T65" fmla="*/ 2147483647 h 1554"/>
              <a:gd name="T66" fmla="*/ 2147483647 w 839"/>
              <a:gd name="T67" fmla="*/ 2147483647 h 1554"/>
              <a:gd name="T68" fmla="*/ 2147483647 w 839"/>
              <a:gd name="T69" fmla="*/ 2147483647 h 1554"/>
              <a:gd name="T70" fmla="*/ 2147483647 w 839"/>
              <a:gd name="T71" fmla="*/ 2147483647 h 1554"/>
              <a:gd name="T72" fmla="*/ 2147483647 w 839"/>
              <a:gd name="T73" fmla="*/ 2147483647 h 1554"/>
              <a:gd name="T74" fmla="*/ 2147483647 w 839"/>
              <a:gd name="T75" fmla="*/ 2147483647 h 1554"/>
              <a:gd name="T76" fmla="*/ 2147483647 w 839"/>
              <a:gd name="T77" fmla="*/ 2147483647 h 1554"/>
              <a:gd name="T78" fmla="*/ 2147483647 w 839"/>
              <a:gd name="T79" fmla="*/ 2147483647 h 1554"/>
              <a:gd name="T80" fmla="*/ 2147483647 w 839"/>
              <a:gd name="T81" fmla="*/ 2147483647 h 1554"/>
              <a:gd name="T82" fmla="*/ 2147483647 w 839"/>
              <a:gd name="T83" fmla="*/ 2147483647 h 1554"/>
              <a:gd name="T84" fmla="*/ 2147483647 w 839"/>
              <a:gd name="T85" fmla="*/ 2147483647 h 1554"/>
              <a:gd name="T86" fmla="*/ 2147483647 w 839"/>
              <a:gd name="T87" fmla="*/ 2147483647 h 1554"/>
              <a:gd name="T88" fmla="*/ 2147483647 w 839"/>
              <a:gd name="T89" fmla="*/ 2147483647 h 1554"/>
              <a:gd name="T90" fmla="*/ 2105991504 w 839"/>
              <a:gd name="T91" fmla="*/ 2147483647 h 1554"/>
              <a:gd name="T92" fmla="*/ 1992986653 w 839"/>
              <a:gd name="T93" fmla="*/ 2147483647 h 1554"/>
              <a:gd name="T94" fmla="*/ 1934771122 w 839"/>
              <a:gd name="T95" fmla="*/ 2128887417 h 1554"/>
              <a:gd name="T96" fmla="*/ 1924498963 w 839"/>
              <a:gd name="T97" fmla="*/ 1858498158 h 1554"/>
              <a:gd name="T98" fmla="*/ 1955317752 w 839"/>
              <a:gd name="T99" fmla="*/ 1618912516 h 1554"/>
              <a:gd name="T100" fmla="*/ 2023806831 w 839"/>
              <a:gd name="T101" fmla="*/ 1413552602 h 1554"/>
              <a:gd name="T102" fmla="*/ 2085445336 w 839"/>
              <a:gd name="T103" fmla="*/ 1269802697 h 1554"/>
              <a:gd name="T104" fmla="*/ 2116263663 w 839"/>
              <a:gd name="T105" fmla="*/ 1197926820 h 1554"/>
              <a:gd name="T106" fmla="*/ 2129961108 w 839"/>
              <a:gd name="T107" fmla="*/ 1191081675 h 1554"/>
              <a:gd name="T108" fmla="*/ 2147483647 w 839"/>
              <a:gd name="T109" fmla="*/ 1225307402 h 1554"/>
              <a:gd name="T110" fmla="*/ 2147483647 w 839"/>
              <a:gd name="T111" fmla="*/ 1297183279 h 1554"/>
              <a:gd name="T112" fmla="*/ 2147483647 w 839"/>
              <a:gd name="T113" fmla="*/ 1379326875 h 1554"/>
              <a:gd name="T114" fmla="*/ 2147483647 w 839"/>
              <a:gd name="T115" fmla="*/ 1423822171 h 1554"/>
              <a:gd name="T116" fmla="*/ 2147483647 w 839"/>
              <a:gd name="T117" fmla="*/ 1434089889 h 1554"/>
              <a:gd name="T118" fmla="*/ 2147483647 w 839"/>
              <a:gd name="T119" fmla="*/ 1300605852 h 1554"/>
              <a:gd name="T120" fmla="*/ 2147483647 w 839"/>
              <a:gd name="T121" fmla="*/ 961763520 h 155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39"/>
              <a:gd name="T184" fmla="*/ 0 h 1554"/>
              <a:gd name="T185" fmla="*/ 839 w 839"/>
              <a:gd name="T186" fmla="*/ 1554 h 155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39" h="1554">
                <a:moveTo>
                  <a:pt x="627" y="210"/>
                </a:moveTo>
                <a:lnTo>
                  <a:pt x="613" y="184"/>
                </a:lnTo>
                <a:lnTo>
                  <a:pt x="599" y="161"/>
                </a:lnTo>
                <a:lnTo>
                  <a:pt x="586" y="138"/>
                </a:lnTo>
                <a:lnTo>
                  <a:pt x="575" y="118"/>
                </a:lnTo>
                <a:lnTo>
                  <a:pt x="564" y="99"/>
                </a:lnTo>
                <a:lnTo>
                  <a:pt x="554" y="82"/>
                </a:lnTo>
                <a:lnTo>
                  <a:pt x="545" y="66"/>
                </a:lnTo>
                <a:lnTo>
                  <a:pt x="537" y="52"/>
                </a:lnTo>
                <a:lnTo>
                  <a:pt x="530" y="40"/>
                </a:lnTo>
                <a:lnTo>
                  <a:pt x="524" y="29"/>
                </a:lnTo>
                <a:lnTo>
                  <a:pt x="519" y="20"/>
                </a:lnTo>
                <a:lnTo>
                  <a:pt x="515" y="13"/>
                </a:lnTo>
                <a:lnTo>
                  <a:pt x="512" y="7"/>
                </a:lnTo>
                <a:lnTo>
                  <a:pt x="509" y="3"/>
                </a:lnTo>
                <a:lnTo>
                  <a:pt x="508" y="0"/>
                </a:lnTo>
                <a:lnTo>
                  <a:pt x="507" y="0"/>
                </a:lnTo>
                <a:lnTo>
                  <a:pt x="504" y="0"/>
                </a:lnTo>
                <a:lnTo>
                  <a:pt x="499" y="0"/>
                </a:lnTo>
                <a:lnTo>
                  <a:pt x="492" y="0"/>
                </a:lnTo>
                <a:lnTo>
                  <a:pt x="484" y="0"/>
                </a:lnTo>
                <a:lnTo>
                  <a:pt x="473" y="0"/>
                </a:lnTo>
                <a:lnTo>
                  <a:pt x="461" y="0"/>
                </a:lnTo>
                <a:lnTo>
                  <a:pt x="447" y="0"/>
                </a:lnTo>
                <a:lnTo>
                  <a:pt x="431" y="0"/>
                </a:lnTo>
                <a:lnTo>
                  <a:pt x="413" y="0"/>
                </a:lnTo>
                <a:lnTo>
                  <a:pt x="393" y="0"/>
                </a:lnTo>
                <a:lnTo>
                  <a:pt x="371" y="0"/>
                </a:lnTo>
                <a:lnTo>
                  <a:pt x="347" y="0"/>
                </a:lnTo>
                <a:lnTo>
                  <a:pt x="321" y="0"/>
                </a:lnTo>
                <a:lnTo>
                  <a:pt x="294" y="0"/>
                </a:lnTo>
                <a:lnTo>
                  <a:pt x="264" y="0"/>
                </a:lnTo>
                <a:lnTo>
                  <a:pt x="235" y="0"/>
                </a:lnTo>
                <a:lnTo>
                  <a:pt x="208" y="0"/>
                </a:lnTo>
                <a:lnTo>
                  <a:pt x="182" y="0"/>
                </a:lnTo>
                <a:lnTo>
                  <a:pt x="158" y="0"/>
                </a:lnTo>
                <a:lnTo>
                  <a:pt x="136" y="0"/>
                </a:lnTo>
                <a:lnTo>
                  <a:pt x="116" y="0"/>
                </a:lnTo>
                <a:lnTo>
                  <a:pt x="98" y="0"/>
                </a:lnTo>
                <a:lnTo>
                  <a:pt x="82" y="0"/>
                </a:lnTo>
                <a:lnTo>
                  <a:pt x="68" y="0"/>
                </a:lnTo>
                <a:lnTo>
                  <a:pt x="56" y="0"/>
                </a:lnTo>
                <a:lnTo>
                  <a:pt x="45" y="0"/>
                </a:lnTo>
                <a:lnTo>
                  <a:pt x="37" y="0"/>
                </a:lnTo>
                <a:lnTo>
                  <a:pt x="30" y="0"/>
                </a:lnTo>
                <a:lnTo>
                  <a:pt x="25" y="0"/>
                </a:lnTo>
                <a:lnTo>
                  <a:pt x="22" y="0"/>
                </a:lnTo>
                <a:lnTo>
                  <a:pt x="21" y="0"/>
                </a:lnTo>
                <a:lnTo>
                  <a:pt x="22" y="0"/>
                </a:lnTo>
                <a:lnTo>
                  <a:pt x="23" y="1"/>
                </a:lnTo>
                <a:lnTo>
                  <a:pt x="25" y="2"/>
                </a:lnTo>
                <a:lnTo>
                  <a:pt x="27" y="3"/>
                </a:lnTo>
                <a:lnTo>
                  <a:pt x="29" y="4"/>
                </a:lnTo>
                <a:lnTo>
                  <a:pt x="32" y="6"/>
                </a:lnTo>
                <a:lnTo>
                  <a:pt x="35" y="8"/>
                </a:lnTo>
                <a:lnTo>
                  <a:pt x="39" y="10"/>
                </a:lnTo>
                <a:lnTo>
                  <a:pt x="43" y="12"/>
                </a:lnTo>
                <a:lnTo>
                  <a:pt x="48" y="15"/>
                </a:lnTo>
                <a:lnTo>
                  <a:pt x="53" y="18"/>
                </a:lnTo>
                <a:lnTo>
                  <a:pt x="58" y="21"/>
                </a:lnTo>
                <a:lnTo>
                  <a:pt x="64" y="25"/>
                </a:lnTo>
                <a:lnTo>
                  <a:pt x="71" y="28"/>
                </a:lnTo>
                <a:lnTo>
                  <a:pt x="77" y="32"/>
                </a:lnTo>
                <a:lnTo>
                  <a:pt x="84" y="36"/>
                </a:lnTo>
                <a:lnTo>
                  <a:pt x="90" y="40"/>
                </a:lnTo>
                <a:lnTo>
                  <a:pt x="96" y="43"/>
                </a:lnTo>
                <a:lnTo>
                  <a:pt x="102" y="47"/>
                </a:lnTo>
                <a:lnTo>
                  <a:pt x="107" y="49"/>
                </a:lnTo>
                <a:lnTo>
                  <a:pt x="111" y="52"/>
                </a:lnTo>
                <a:lnTo>
                  <a:pt x="116" y="55"/>
                </a:lnTo>
                <a:lnTo>
                  <a:pt x="119" y="57"/>
                </a:lnTo>
                <a:lnTo>
                  <a:pt x="123" y="59"/>
                </a:lnTo>
                <a:lnTo>
                  <a:pt x="125" y="60"/>
                </a:lnTo>
                <a:lnTo>
                  <a:pt x="128" y="62"/>
                </a:lnTo>
                <a:lnTo>
                  <a:pt x="130" y="63"/>
                </a:lnTo>
                <a:lnTo>
                  <a:pt x="131" y="64"/>
                </a:lnTo>
                <a:lnTo>
                  <a:pt x="132" y="64"/>
                </a:lnTo>
                <a:lnTo>
                  <a:pt x="133" y="65"/>
                </a:lnTo>
                <a:lnTo>
                  <a:pt x="132" y="67"/>
                </a:lnTo>
                <a:lnTo>
                  <a:pt x="131" y="69"/>
                </a:lnTo>
                <a:lnTo>
                  <a:pt x="130" y="72"/>
                </a:lnTo>
                <a:lnTo>
                  <a:pt x="128" y="77"/>
                </a:lnTo>
                <a:lnTo>
                  <a:pt x="125" y="82"/>
                </a:lnTo>
                <a:lnTo>
                  <a:pt x="122" y="88"/>
                </a:lnTo>
                <a:lnTo>
                  <a:pt x="119" y="95"/>
                </a:lnTo>
                <a:lnTo>
                  <a:pt x="115" y="103"/>
                </a:lnTo>
                <a:lnTo>
                  <a:pt x="111" y="112"/>
                </a:lnTo>
                <a:lnTo>
                  <a:pt x="106" y="121"/>
                </a:lnTo>
                <a:lnTo>
                  <a:pt x="101" y="132"/>
                </a:lnTo>
                <a:lnTo>
                  <a:pt x="96" y="144"/>
                </a:lnTo>
                <a:lnTo>
                  <a:pt x="90" y="156"/>
                </a:lnTo>
                <a:lnTo>
                  <a:pt x="84" y="170"/>
                </a:lnTo>
                <a:lnTo>
                  <a:pt x="77" y="184"/>
                </a:lnTo>
                <a:lnTo>
                  <a:pt x="70" y="200"/>
                </a:lnTo>
                <a:lnTo>
                  <a:pt x="63" y="216"/>
                </a:lnTo>
                <a:lnTo>
                  <a:pt x="57" y="233"/>
                </a:lnTo>
                <a:lnTo>
                  <a:pt x="51" y="250"/>
                </a:lnTo>
                <a:lnTo>
                  <a:pt x="45" y="269"/>
                </a:lnTo>
                <a:lnTo>
                  <a:pt x="40" y="288"/>
                </a:lnTo>
                <a:lnTo>
                  <a:pt x="35" y="308"/>
                </a:lnTo>
                <a:lnTo>
                  <a:pt x="30" y="329"/>
                </a:lnTo>
                <a:lnTo>
                  <a:pt x="25" y="351"/>
                </a:lnTo>
                <a:lnTo>
                  <a:pt x="21" y="373"/>
                </a:lnTo>
                <a:lnTo>
                  <a:pt x="17" y="397"/>
                </a:lnTo>
                <a:lnTo>
                  <a:pt x="14" y="421"/>
                </a:lnTo>
                <a:lnTo>
                  <a:pt x="11" y="446"/>
                </a:lnTo>
                <a:lnTo>
                  <a:pt x="8" y="471"/>
                </a:lnTo>
                <a:lnTo>
                  <a:pt x="5" y="498"/>
                </a:lnTo>
                <a:lnTo>
                  <a:pt x="3" y="525"/>
                </a:lnTo>
                <a:lnTo>
                  <a:pt x="1" y="553"/>
                </a:lnTo>
                <a:lnTo>
                  <a:pt x="0" y="581"/>
                </a:lnTo>
                <a:lnTo>
                  <a:pt x="0" y="609"/>
                </a:lnTo>
                <a:lnTo>
                  <a:pt x="2" y="637"/>
                </a:lnTo>
                <a:lnTo>
                  <a:pt x="4" y="665"/>
                </a:lnTo>
                <a:lnTo>
                  <a:pt x="7" y="694"/>
                </a:lnTo>
                <a:lnTo>
                  <a:pt x="11" y="722"/>
                </a:lnTo>
                <a:lnTo>
                  <a:pt x="16" y="751"/>
                </a:lnTo>
                <a:lnTo>
                  <a:pt x="22" y="780"/>
                </a:lnTo>
                <a:lnTo>
                  <a:pt x="29" y="809"/>
                </a:lnTo>
                <a:lnTo>
                  <a:pt x="37" y="839"/>
                </a:lnTo>
                <a:lnTo>
                  <a:pt x="46" y="868"/>
                </a:lnTo>
                <a:lnTo>
                  <a:pt x="56" y="898"/>
                </a:lnTo>
                <a:lnTo>
                  <a:pt x="67" y="927"/>
                </a:lnTo>
                <a:lnTo>
                  <a:pt x="79" y="957"/>
                </a:lnTo>
                <a:lnTo>
                  <a:pt x="92" y="987"/>
                </a:lnTo>
                <a:lnTo>
                  <a:pt x="106" y="1017"/>
                </a:lnTo>
                <a:lnTo>
                  <a:pt x="120" y="1046"/>
                </a:lnTo>
                <a:lnTo>
                  <a:pt x="135" y="1074"/>
                </a:lnTo>
                <a:lnTo>
                  <a:pt x="151" y="1101"/>
                </a:lnTo>
                <a:lnTo>
                  <a:pt x="168" y="1127"/>
                </a:lnTo>
                <a:lnTo>
                  <a:pt x="185" y="1153"/>
                </a:lnTo>
                <a:lnTo>
                  <a:pt x="203" y="1177"/>
                </a:lnTo>
                <a:lnTo>
                  <a:pt x="221" y="1201"/>
                </a:lnTo>
                <a:lnTo>
                  <a:pt x="240" y="1224"/>
                </a:lnTo>
                <a:lnTo>
                  <a:pt x="260" y="1246"/>
                </a:lnTo>
                <a:lnTo>
                  <a:pt x="280" y="1267"/>
                </a:lnTo>
                <a:lnTo>
                  <a:pt x="301" y="1288"/>
                </a:lnTo>
                <a:lnTo>
                  <a:pt x="323" y="1308"/>
                </a:lnTo>
                <a:lnTo>
                  <a:pt x="346" y="1326"/>
                </a:lnTo>
                <a:lnTo>
                  <a:pt x="369" y="1344"/>
                </a:lnTo>
                <a:lnTo>
                  <a:pt x="393" y="1361"/>
                </a:lnTo>
                <a:lnTo>
                  <a:pt x="416" y="1377"/>
                </a:lnTo>
                <a:lnTo>
                  <a:pt x="440" y="1393"/>
                </a:lnTo>
                <a:lnTo>
                  <a:pt x="462" y="1408"/>
                </a:lnTo>
                <a:lnTo>
                  <a:pt x="484" y="1421"/>
                </a:lnTo>
                <a:lnTo>
                  <a:pt x="506" y="1434"/>
                </a:lnTo>
                <a:lnTo>
                  <a:pt x="527" y="1446"/>
                </a:lnTo>
                <a:lnTo>
                  <a:pt x="547" y="1458"/>
                </a:lnTo>
                <a:lnTo>
                  <a:pt x="567" y="1468"/>
                </a:lnTo>
                <a:lnTo>
                  <a:pt x="586" y="1478"/>
                </a:lnTo>
                <a:lnTo>
                  <a:pt x="604" y="1487"/>
                </a:lnTo>
                <a:lnTo>
                  <a:pt x="622" y="1495"/>
                </a:lnTo>
                <a:lnTo>
                  <a:pt x="639" y="1503"/>
                </a:lnTo>
                <a:lnTo>
                  <a:pt x="656" y="1509"/>
                </a:lnTo>
                <a:lnTo>
                  <a:pt x="672" y="1515"/>
                </a:lnTo>
                <a:lnTo>
                  <a:pt x="688" y="1520"/>
                </a:lnTo>
                <a:lnTo>
                  <a:pt x="703" y="1524"/>
                </a:lnTo>
                <a:lnTo>
                  <a:pt x="717" y="1527"/>
                </a:lnTo>
                <a:lnTo>
                  <a:pt x="730" y="1531"/>
                </a:lnTo>
                <a:lnTo>
                  <a:pt x="742" y="1534"/>
                </a:lnTo>
                <a:lnTo>
                  <a:pt x="754" y="1537"/>
                </a:lnTo>
                <a:lnTo>
                  <a:pt x="764" y="1539"/>
                </a:lnTo>
                <a:lnTo>
                  <a:pt x="774" y="1542"/>
                </a:lnTo>
                <a:lnTo>
                  <a:pt x="782" y="1544"/>
                </a:lnTo>
                <a:lnTo>
                  <a:pt x="790" y="1546"/>
                </a:lnTo>
                <a:lnTo>
                  <a:pt x="797" y="1548"/>
                </a:lnTo>
                <a:lnTo>
                  <a:pt x="803" y="1549"/>
                </a:lnTo>
                <a:lnTo>
                  <a:pt x="808" y="1550"/>
                </a:lnTo>
                <a:lnTo>
                  <a:pt x="812" y="1551"/>
                </a:lnTo>
                <a:lnTo>
                  <a:pt x="815" y="1552"/>
                </a:lnTo>
                <a:lnTo>
                  <a:pt x="818" y="1553"/>
                </a:lnTo>
                <a:lnTo>
                  <a:pt x="819" y="1553"/>
                </a:lnTo>
                <a:lnTo>
                  <a:pt x="818" y="1551"/>
                </a:lnTo>
                <a:lnTo>
                  <a:pt x="817" y="1548"/>
                </a:lnTo>
                <a:lnTo>
                  <a:pt x="815" y="1544"/>
                </a:lnTo>
                <a:lnTo>
                  <a:pt x="812" y="1540"/>
                </a:lnTo>
                <a:lnTo>
                  <a:pt x="809" y="1534"/>
                </a:lnTo>
                <a:lnTo>
                  <a:pt x="805" y="1527"/>
                </a:lnTo>
                <a:lnTo>
                  <a:pt x="800" y="1519"/>
                </a:lnTo>
                <a:lnTo>
                  <a:pt x="795" y="1509"/>
                </a:lnTo>
                <a:lnTo>
                  <a:pt x="789" y="1499"/>
                </a:lnTo>
                <a:lnTo>
                  <a:pt x="783" y="1488"/>
                </a:lnTo>
                <a:lnTo>
                  <a:pt x="776" y="1475"/>
                </a:lnTo>
                <a:lnTo>
                  <a:pt x="768" y="1462"/>
                </a:lnTo>
                <a:lnTo>
                  <a:pt x="760" y="1447"/>
                </a:lnTo>
                <a:lnTo>
                  <a:pt x="751" y="1432"/>
                </a:lnTo>
                <a:lnTo>
                  <a:pt x="742" y="1415"/>
                </a:lnTo>
                <a:lnTo>
                  <a:pt x="732" y="1398"/>
                </a:lnTo>
                <a:lnTo>
                  <a:pt x="723" y="1382"/>
                </a:lnTo>
                <a:lnTo>
                  <a:pt x="715" y="1368"/>
                </a:lnTo>
                <a:lnTo>
                  <a:pt x="707" y="1354"/>
                </a:lnTo>
                <a:lnTo>
                  <a:pt x="700" y="1342"/>
                </a:lnTo>
                <a:lnTo>
                  <a:pt x="694" y="1330"/>
                </a:lnTo>
                <a:lnTo>
                  <a:pt x="688" y="1320"/>
                </a:lnTo>
                <a:lnTo>
                  <a:pt x="683" y="1311"/>
                </a:lnTo>
                <a:lnTo>
                  <a:pt x="678" y="1303"/>
                </a:lnTo>
                <a:lnTo>
                  <a:pt x="674" y="1296"/>
                </a:lnTo>
                <a:lnTo>
                  <a:pt x="671" y="1290"/>
                </a:lnTo>
                <a:lnTo>
                  <a:pt x="668" y="1285"/>
                </a:lnTo>
                <a:lnTo>
                  <a:pt x="666" y="1281"/>
                </a:lnTo>
                <a:lnTo>
                  <a:pt x="665" y="1279"/>
                </a:lnTo>
                <a:lnTo>
                  <a:pt x="664" y="1277"/>
                </a:lnTo>
                <a:lnTo>
                  <a:pt x="664" y="1276"/>
                </a:lnTo>
                <a:lnTo>
                  <a:pt x="665" y="1274"/>
                </a:lnTo>
                <a:lnTo>
                  <a:pt x="667" y="1271"/>
                </a:lnTo>
                <a:lnTo>
                  <a:pt x="669" y="1267"/>
                </a:lnTo>
                <a:lnTo>
                  <a:pt x="672" y="1262"/>
                </a:lnTo>
                <a:lnTo>
                  <a:pt x="676" y="1255"/>
                </a:lnTo>
                <a:lnTo>
                  <a:pt x="680" y="1247"/>
                </a:lnTo>
                <a:lnTo>
                  <a:pt x="685" y="1239"/>
                </a:lnTo>
                <a:lnTo>
                  <a:pt x="691" y="1228"/>
                </a:lnTo>
                <a:lnTo>
                  <a:pt x="698" y="1217"/>
                </a:lnTo>
                <a:lnTo>
                  <a:pt x="705" y="1205"/>
                </a:lnTo>
                <a:lnTo>
                  <a:pt x="713" y="1191"/>
                </a:lnTo>
                <a:lnTo>
                  <a:pt x="721" y="1176"/>
                </a:lnTo>
                <a:lnTo>
                  <a:pt x="730" y="1160"/>
                </a:lnTo>
                <a:lnTo>
                  <a:pt x="740" y="1143"/>
                </a:lnTo>
                <a:lnTo>
                  <a:pt x="751" y="1125"/>
                </a:lnTo>
                <a:lnTo>
                  <a:pt x="761" y="1107"/>
                </a:lnTo>
                <a:lnTo>
                  <a:pt x="771" y="1089"/>
                </a:lnTo>
                <a:lnTo>
                  <a:pt x="780" y="1073"/>
                </a:lnTo>
                <a:lnTo>
                  <a:pt x="789" y="1059"/>
                </a:lnTo>
                <a:lnTo>
                  <a:pt x="797" y="1045"/>
                </a:lnTo>
                <a:lnTo>
                  <a:pt x="804" y="1033"/>
                </a:lnTo>
                <a:lnTo>
                  <a:pt x="810" y="1021"/>
                </a:lnTo>
                <a:lnTo>
                  <a:pt x="816" y="1011"/>
                </a:lnTo>
                <a:lnTo>
                  <a:pt x="821" y="1002"/>
                </a:lnTo>
                <a:lnTo>
                  <a:pt x="825" y="995"/>
                </a:lnTo>
                <a:lnTo>
                  <a:pt x="829" y="988"/>
                </a:lnTo>
                <a:lnTo>
                  <a:pt x="832" y="983"/>
                </a:lnTo>
                <a:lnTo>
                  <a:pt x="835" y="979"/>
                </a:lnTo>
                <a:lnTo>
                  <a:pt x="836" y="976"/>
                </a:lnTo>
                <a:lnTo>
                  <a:pt x="837" y="974"/>
                </a:lnTo>
                <a:lnTo>
                  <a:pt x="838" y="973"/>
                </a:lnTo>
                <a:lnTo>
                  <a:pt x="837" y="973"/>
                </a:lnTo>
                <a:lnTo>
                  <a:pt x="835" y="972"/>
                </a:lnTo>
                <a:lnTo>
                  <a:pt x="833" y="971"/>
                </a:lnTo>
                <a:lnTo>
                  <a:pt x="831" y="970"/>
                </a:lnTo>
                <a:lnTo>
                  <a:pt x="828" y="969"/>
                </a:lnTo>
                <a:lnTo>
                  <a:pt x="825" y="967"/>
                </a:lnTo>
                <a:lnTo>
                  <a:pt x="821" y="965"/>
                </a:lnTo>
                <a:lnTo>
                  <a:pt x="816" y="962"/>
                </a:lnTo>
                <a:lnTo>
                  <a:pt x="811" y="960"/>
                </a:lnTo>
                <a:lnTo>
                  <a:pt x="806" y="957"/>
                </a:lnTo>
                <a:lnTo>
                  <a:pt x="800" y="954"/>
                </a:lnTo>
                <a:lnTo>
                  <a:pt x="793" y="950"/>
                </a:lnTo>
                <a:lnTo>
                  <a:pt x="786" y="947"/>
                </a:lnTo>
                <a:lnTo>
                  <a:pt x="778" y="943"/>
                </a:lnTo>
                <a:lnTo>
                  <a:pt x="770" y="938"/>
                </a:lnTo>
                <a:lnTo>
                  <a:pt x="762" y="934"/>
                </a:lnTo>
                <a:lnTo>
                  <a:pt x="753" y="929"/>
                </a:lnTo>
                <a:lnTo>
                  <a:pt x="745" y="923"/>
                </a:lnTo>
                <a:lnTo>
                  <a:pt x="736" y="917"/>
                </a:lnTo>
                <a:lnTo>
                  <a:pt x="728" y="911"/>
                </a:lnTo>
                <a:lnTo>
                  <a:pt x="720" y="904"/>
                </a:lnTo>
                <a:lnTo>
                  <a:pt x="711" y="896"/>
                </a:lnTo>
                <a:lnTo>
                  <a:pt x="703" y="889"/>
                </a:lnTo>
                <a:lnTo>
                  <a:pt x="695" y="880"/>
                </a:lnTo>
                <a:lnTo>
                  <a:pt x="687" y="872"/>
                </a:lnTo>
                <a:lnTo>
                  <a:pt x="678" y="863"/>
                </a:lnTo>
                <a:lnTo>
                  <a:pt x="670" y="853"/>
                </a:lnTo>
                <a:lnTo>
                  <a:pt x="662" y="843"/>
                </a:lnTo>
                <a:lnTo>
                  <a:pt x="654" y="833"/>
                </a:lnTo>
                <a:lnTo>
                  <a:pt x="646" y="822"/>
                </a:lnTo>
                <a:lnTo>
                  <a:pt x="638" y="810"/>
                </a:lnTo>
                <a:lnTo>
                  <a:pt x="630" y="799"/>
                </a:lnTo>
                <a:lnTo>
                  <a:pt x="622" y="787"/>
                </a:lnTo>
                <a:lnTo>
                  <a:pt x="615" y="775"/>
                </a:lnTo>
                <a:lnTo>
                  <a:pt x="609" y="763"/>
                </a:lnTo>
                <a:lnTo>
                  <a:pt x="602" y="751"/>
                </a:lnTo>
                <a:lnTo>
                  <a:pt x="597" y="738"/>
                </a:lnTo>
                <a:lnTo>
                  <a:pt x="591" y="726"/>
                </a:lnTo>
                <a:lnTo>
                  <a:pt x="587" y="713"/>
                </a:lnTo>
                <a:lnTo>
                  <a:pt x="582" y="701"/>
                </a:lnTo>
                <a:lnTo>
                  <a:pt x="578" y="688"/>
                </a:lnTo>
                <a:lnTo>
                  <a:pt x="575" y="675"/>
                </a:lnTo>
                <a:lnTo>
                  <a:pt x="571" y="662"/>
                </a:lnTo>
                <a:lnTo>
                  <a:pt x="569" y="648"/>
                </a:lnTo>
                <a:lnTo>
                  <a:pt x="567" y="635"/>
                </a:lnTo>
                <a:lnTo>
                  <a:pt x="565" y="622"/>
                </a:lnTo>
                <a:lnTo>
                  <a:pt x="563" y="608"/>
                </a:lnTo>
                <a:lnTo>
                  <a:pt x="562" y="594"/>
                </a:lnTo>
                <a:lnTo>
                  <a:pt x="562" y="581"/>
                </a:lnTo>
                <a:lnTo>
                  <a:pt x="561" y="568"/>
                </a:lnTo>
                <a:lnTo>
                  <a:pt x="561" y="555"/>
                </a:lnTo>
                <a:lnTo>
                  <a:pt x="562" y="543"/>
                </a:lnTo>
                <a:lnTo>
                  <a:pt x="562" y="530"/>
                </a:lnTo>
                <a:lnTo>
                  <a:pt x="563" y="518"/>
                </a:lnTo>
                <a:lnTo>
                  <a:pt x="565" y="507"/>
                </a:lnTo>
                <a:lnTo>
                  <a:pt x="566" y="495"/>
                </a:lnTo>
                <a:lnTo>
                  <a:pt x="568" y="484"/>
                </a:lnTo>
                <a:lnTo>
                  <a:pt x="571" y="473"/>
                </a:lnTo>
                <a:lnTo>
                  <a:pt x="573" y="463"/>
                </a:lnTo>
                <a:lnTo>
                  <a:pt x="576" y="452"/>
                </a:lnTo>
                <a:lnTo>
                  <a:pt x="579" y="442"/>
                </a:lnTo>
                <a:lnTo>
                  <a:pt x="583" y="432"/>
                </a:lnTo>
                <a:lnTo>
                  <a:pt x="587" y="423"/>
                </a:lnTo>
                <a:lnTo>
                  <a:pt x="591" y="413"/>
                </a:lnTo>
                <a:lnTo>
                  <a:pt x="594" y="405"/>
                </a:lnTo>
                <a:lnTo>
                  <a:pt x="598" y="397"/>
                </a:lnTo>
                <a:lnTo>
                  <a:pt x="601" y="389"/>
                </a:lnTo>
                <a:lnTo>
                  <a:pt x="604" y="383"/>
                </a:lnTo>
                <a:lnTo>
                  <a:pt x="607" y="376"/>
                </a:lnTo>
                <a:lnTo>
                  <a:pt x="609" y="371"/>
                </a:lnTo>
                <a:lnTo>
                  <a:pt x="611" y="366"/>
                </a:lnTo>
                <a:lnTo>
                  <a:pt x="613" y="361"/>
                </a:lnTo>
                <a:lnTo>
                  <a:pt x="615" y="357"/>
                </a:lnTo>
                <a:lnTo>
                  <a:pt x="616" y="354"/>
                </a:lnTo>
                <a:lnTo>
                  <a:pt x="617" y="352"/>
                </a:lnTo>
                <a:lnTo>
                  <a:pt x="618" y="350"/>
                </a:lnTo>
                <a:lnTo>
                  <a:pt x="619" y="348"/>
                </a:lnTo>
                <a:lnTo>
                  <a:pt x="619" y="347"/>
                </a:lnTo>
                <a:lnTo>
                  <a:pt x="620" y="347"/>
                </a:lnTo>
                <a:lnTo>
                  <a:pt x="622" y="348"/>
                </a:lnTo>
                <a:lnTo>
                  <a:pt x="623" y="349"/>
                </a:lnTo>
                <a:lnTo>
                  <a:pt x="626" y="350"/>
                </a:lnTo>
                <a:lnTo>
                  <a:pt x="628" y="352"/>
                </a:lnTo>
                <a:lnTo>
                  <a:pt x="632" y="354"/>
                </a:lnTo>
                <a:lnTo>
                  <a:pt x="635" y="356"/>
                </a:lnTo>
                <a:lnTo>
                  <a:pt x="639" y="358"/>
                </a:lnTo>
                <a:lnTo>
                  <a:pt x="644" y="361"/>
                </a:lnTo>
                <a:lnTo>
                  <a:pt x="649" y="364"/>
                </a:lnTo>
                <a:lnTo>
                  <a:pt x="655" y="367"/>
                </a:lnTo>
                <a:lnTo>
                  <a:pt x="661" y="371"/>
                </a:lnTo>
                <a:lnTo>
                  <a:pt x="668" y="375"/>
                </a:lnTo>
                <a:lnTo>
                  <a:pt x="675" y="379"/>
                </a:lnTo>
                <a:lnTo>
                  <a:pt x="683" y="383"/>
                </a:lnTo>
                <a:lnTo>
                  <a:pt x="691" y="388"/>
                </a:lnTo>
                <a:lnTo>
                  <a:pt x="698" y="392"/>
                </a:lnTo>
                <a:lnTo>
                  <a:pt x="705" y="396"/>
                </a:lnTo>
                <a:lnTo>
                  <a:pt x="711" y="399"/>
                </a:lnTo>
                <a:lnTo>
                  <a:pt x="717" y="403"/>
                </a:lnTo>
                <a:lnTo>
                  <a:pt x="722" y="406"/>
                </a:lnTo>
                <a:lnTo>
                  <a:pt x="727" y="408"/>
                </a:lnTo>
                <a:lnTo>
                  <a:pt x="731" y="411"/>
                </a:lnTo>
                <a:lnTo>
                  <a:pt x="735" y="413"/>
                </a:lnTo>
                <a:lnTo>
                  <a:pt x="738" y="415"/>
                </a:lnTo>
                <a:lnTo>
                  <a:pt x="740" y="416"/>
                </a:lnTo>
                <a:lnTo>
                  <a:pt x="743" y="418"/>
                </a:lnTo>
                <a:lnTo>
                  <a:pt x="744" y="419"/>
                </a:lnTo>
                <a:lnTo>
                  <a:pt x="746" y="419"/>
                </a:lnTo>
                <a:lnTo>
                  <a:pt x="746" y="420"/>
                </a:lnTo>
                <a:lnTo>
                  <a:pt x="747" y="420"/>
                </a:lnTo>
                <a:lnTo>
                  <a:pt x="746" y="419"/>
                </a:lnTo>
                <a:lnTo>
                  <a:pt x="745" y="417"/>
                </a:lnTo>
                <a:lnTo>
                  <a:pt x="742" y="413"/>
                </a:lnTo>
                <a:lnTo>
                  <a:pt x="739" y="407"/>
                </a:lnTo>
                <a:lnTo>
                  <a:pt x="735" y="399"/>
                </a:lnTo>
                <a:lnTo>
                  <a:pt x="730" y="390"/>
                </a:lnTo>
                <a:lnTo>
                  <a:pt x="724" y="380"/>
                </a:lnTo>
                <a:lnTo>
                  <a:pt x="717" y="367"/>
                </a:lnTo>
                <a:lnTo>
                  <a:pt x="709" y="353"/>
                </a:lnTo>
                <a:lnTo>
                  <a:pt x="700" y="338"/>
                </a:lnTo>
                <a:lnTo>
                  <a:pt x="690" y="321"/>
                </a:lnTo>
                <a:lnTo>
                  <a:pt x="679" y="302"/>
                </a:lnTo>
                <a:lnTo>
                  <a:pt x="668" y="281"/>
                </a:lnTo>
                <a:lnTo>
                  <a:pt x="655" y="259"/>
                </a:lnTo>
                <a:lnTo>
                  <a:pt x="642" y="235"/>
                </a:lnTo>
                <a:lnTo>
                  <a:pt x="627" y="21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076056" y="414908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176264" y="19168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2754910" y="356312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2593544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4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"/>
          <p:cNvSpPr>
            <a:spLocks noChangeAspect="1"/>
          </p:cNvSpPr>
          <p:nvPr/>
        </p:nvSpPr>
        <p:spPr bwMode="auto">
          <a:xfrm>
            <a:off x="4805031" y="1683810"/>
            <a:ext cx="1855787" cy="2265363"/>
          </a:xfrm>
          <a:custGeom>
            <a:avLst/>
            <a:gdLst>
              <a:gd name="T0" fmla="*/ 1045731494 w 989"/>
              <a:gd name="T1" fmla="*/ 2147483647 h 1207"/>
              <a:gd name="T2" fmla="*/ 1052773726 w 989"/>
              <a:gd name="T3" fmla="*/ 2147483647 h 1207"/>
              <a:gd name="T4" fmla="*/ 1056293903 w 989"/>
              <a:gd name="T5" fmla="*/ 2147483647 h 1207"/>
              <a:gd name="T6" fmla="*/ 1010522214 w 989"/>
              <a:gd name="T7" fmla="*/ 2147483647 h 1207"/>
              <a:gd name="T8" fmla="*/ 897850029 w 989"/>
              <a:gd name="T9" fmla="*/ 2147483647 h 1207"/>
              <a:gd name="T10" fmla="*/ 735884335 w 989"/>
              <a:gd name="T11" fmla="*/ 2147483647 h 1207"/>
              <a:gd name="T12" fmla="*/ 623214261 w 989"/>
              <a:gd name="T13" fmla="*/ 2147483647 h 1207"/>
              <a:gd name="T14" fmla="*/ 580962749 w 989"/>
              <a:gd name="T15" fmla="*/ 2147483647 h 1207"/>
              <a:gd name="T16" fmla="*/ 647861133 w 989"/>
              <a:gd name="T17" fmla="*/ 2147483647 h 1207"/>
              <a:gd name="T18" fmla="*/ 918976723 w 989"/>
              <a:gd name="T19" fmla="*/ 2147483647 h 1207"/>
              <a:gd name="T20" fmla="*/ 1387267522 w 989"/>
              <a:gd name="T21" fmla="*/ 2147483647 h 1207"/>
              <a:gd name="T22" fmla="*/ 1792179880 w 989"/>
              <a:gd name="T23" fmla="*/ 2147483647 h 1207"/>
              <a:gd name="T24" fmla="*/ 1992875502 w 989"/>
              <a:gd name="T25" fmla="*/ 2147483647 h 1207"/>
              <a:gd name="T26" fmla="*/ 2045691299 w 989"/>
              <a:gd name="T27" fmla="*/ 2147483647 h 1207"/>
              <a:gd name="T28" fmla="*/ 2147483647 w 989"/>
              <a:gd name="T29" fmla="*/ 2147483647 h 1207"/>
              <a:gd name="T30" fmla="*/ 2147483647 w 989"/>
              <a:gd name="T31" fmla="*/ 2147483647 h 1207"/>
              <a:gd name="T32" fmla="*/ 2147483647 w 989"/>
              <a:gd name="T33" fmla="*/ 2147483647 h 1207"/>
              <a:gd name="T34" fmla="*/ 2147483647 w 989"/>
              <a:gd name="T35" fmla="*/ 2147483647 h 1207"/>
              <a:gd name="T36" fmla="*/ 2147483647 w 989"/>
              <a:gd name="T37" fmla="*/ 2147483647 h 1207"/>
              <a:gd name="T38" fmla="*/ 2147483647 w 989"/>
              <a:gd name="T39" fmla="*/ 2147483647 h 1207"/>
              <a:gd name="T40" fmla="*/ 2147483647 w 989"/>
              <a:gd name="T41" fmla="*/ 2147483647 h 1207"/>
              <a:gd name="T42" fmla="*/ 2147483647 w 989"/>
              <a:gd name="T43" fmla="*/ 2147483647 h 1207"/>
              <a:gd name="T44" fmla="*/ 2147483647 w 989"/>
              <a:gd name="T45" fmla="*/ 2147483647 h 1207"/>
              <a:gd name="T46" fmla="*/ 2147483647 w 989"/>
              <a:gd name="T47" fmla="*/ 2147483647 h 1207"/>
              <a:gd name="T48" fmla="*/ 2147483647 w 989"/>
              <a:gd name="T49" fmla="*/ 2147483647 h 1207"/>
              <a:gd name="T50" fmla="*/ 2147483647 w 989"/>
              <a:gd name="T51" fmla="*/ 2147483647 h 1207"/>
              <a:gd name="T52" fmla="*/ 2147483647 w 989"/>
              <a:gd name="T53" fmla="*/ 2147483647 h 1207"/>
              <a:gd name="T54" fmla="*/ 2147483647 w 989"/>
              <a:gd name="T55" fmla="*/ 2147483647 h 1207"/>
              <a:gd name="T56" fmla="*/ 2147483647 w 989"/>
              <a:gd name="T57" fmla="*/ 2147483647 h 1207"/>
              <a:gd name="T58" fmla="*/ 2147483647 w 989"/>
              <a:gd name="T59" fmla="*/ 2102981417 h 1207"/>
              <a:gd name="T60" fmla="*/ 2147483647 w 989"/>
              <a:gd name="T61" fmla="*/ 1708451343 h 1207"/>
              <a:gd name="T62" fmla="*/ 2147483647 w 989"/>
              <a:gd name="T63" fmla="*/ 1317444593 h 1207"/>
              <a:gd name="T64" fmla="*/ 1964707983 w 989"/>
              <a:gd name="T65" fmla="*/ 951097584 h 1207"/>
              <a:gd name="T66" fmla="*/ 1609087492 w 989"/>
              <a:gd name="T67" fmla="*/ 644631819 h 1207"/>
              <a:gd name="T68" fmla="*/ 1221779775 w 989"/>
              <a:gd name="T69" fmla="*/ 398050699 h 1207"/>
              <a:gd name="T70" fmla="*/ 855598517 w 989"/>
              <a:gd name="T71" fmla="*/ 218400107 h 1207"/>
              <a:gd name="T72" fmla="*/ 545751592 w 989"/>
              <a:gd name="T73" fmla="*/ 102155284 h 1207"/>
              <a:gd name="T74" fmla="*/ 292242402 w 989"/>
              <a:gd name="T75" fmla="*/ 45793361 h 1207"/>
              <a:gd name="T76" fmla="*/ 133796827 w 989"/>
              <a:gd name="T77" fmla="*/ 14089542 h 1207"/>
              <a:gd name="T78" fmla="*/ 70420467 w 989"/>
              <a:gd name="T79" fmla="*/ 0 h 1207"/>
              <a:gd name="T80" fmla="*/ 95067339 w 989"/>
              <a:gd name="T81" fmla="*/ 45793361 h 1207"/>
              <a:gd name="T82" fmla="*/ 193654856 w 989"/>
              <a:gd name="T83" fmla="*/ 218400107 h 1207"/>
              <a:gd name="T84" fmla="*/ 369703195 w 989"/>
              <a:gd name="T85" fmla="*/ 521341318 h 1207"/>
              <a:gd name="T86" fmla="*/ 521104720 w 989"/>
              <a:gd name="T87" fmla="*/ 782013736 h 1207"/>
              <a:gd name="T88" fmla="*/ 595045336 w 989"/>
              <a:gd name="T89" fmla="*/ 912348069 h 1207"/>
              <a:gd name="T90" fmla="*/ 595045336 w 989"/>
              <a:gd name="T91" fmla="*/ 947574731 h 1207"/>
              <a:gd name="T92" fmla="*/ 510542311 w 989"/>
              <a:gd name="T93" fmla="*/ 1095523567 h 1207"/>
              <a:gd name="T94" fmla="*/ 338014091 w 989"/>
              <a:gd name="T95" fmla="*/ 1387896040 h 1207"/>
              <a:gd name="T96" fmla="*/ 144361112 w 989"/>
              <a:gd name="T97" fmla="*/ 1726063736 h 1207"/>
              <a:gd name="T98" fmla="*/ 28167057 w 989"/>
              <a:gd name="T99" fmla="*/ 1923328538 h 1207"/>
              <a:gd name="T100" fmla="*/ 0 w 989"/>
              <a:gd name="T101" fmla="*/ 1972645208 h 1207"/>
              <a:gd name="T102" fmla="*/ 24646879 w 989"/>
              <a:gd name="T103" fmla="*/ 1979690916 h 1207"/>
              <a:gd name="T104" fmla="*/ 84503054 w 989"/>
              <a:gd name="T105" fmla="*/ 2000826162 h 1207"/>
              <a:gd name="T106" fmla="*/ 179570393 w 989"/>
              <a:gd name="T107" fmla="*/ 2036052824 h 1207"/>
              <a:gd name="T108" fmla="*/ 299282757 w 989"/>
              <a:gd name="T109" fmla="*/ 2102981417 h 1207"/>
              <a:gd name="T110" fmla="*/ 447163988 w 989"/>
              <a:gd name="T111" fmla="*/ 2147483647 h 1207"/>
              <a:gd name="T112" fmla="*/ 605609621 w 989"/>
              <a:gd name="T113" fmla="*/ 2147483647 h 1207"/>
              <a:gd name="T114" fmla="*/ 746448621 w 989"/>
              <a:gd name="T115" fmla="*/ 2147483647 h 1207"/>
              <a:gd name="T116" fmla="*/ 873203157 w 989"/>
              <a:gd name="T117" fmla="*/ 2147483647 h 1207"/>
              <a:gd name="T118" fmla="*/ 968270467 w 989"/>
              <a:gd name="T119" fmla="*/ 2147483647 h 1207"/>
              <a:gd name="T120" fmla="*/ 1024606677 w 989"/>
              <a:gd name="T121" fmla="*/ 2147483647 h 120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89"/>
              <a:gd name="T184" fmla="*/ 0 h 1207"/>
              <a:gd name="T185" fmla="*/ 989 w 989"/>
              <a:gd name="T186" fmla="*/ 1207 h 120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89" h="1207">
                <a:moveTo>
                  <a:pt x="294" y="900"/>
                </a:moveTo>
                <a:lnTo>
                  <a:pt x="295" y="908"/>
                </a:lnTo>
                <a:lnTo>
                  <a:pt x="296" y="916"/>
                </a:lnTo>
                <a:lnTo>
                  <a:pt x="296" y="923"/>
                </a:lnTo>
                <a:lnTo>
                  <a:pt x="297" y="929"/>
                </a:lnTo>
                <a:lnTo>
                  <a:pt x="297" y="935"/>
                </a:lnTo>
                <a:lnTo>
                  <a:pt x="298" y="941"/>
                </a:lnTo>
                <a:lnTo>
                  <a:pt x="298" y="946"/>
                </a:lnTo>
                <a:lnTo>
                  <a:pt x="299" y="950"/>
                </a:lnTo>
                <a:lnTo>
                  <a:pt x="299" y="954"/>
                </a:lnTo>
                <a:lnTo>
                  <a:pt x="299" y="958"/>
                </a:lnTo>
                <a:lnTo>
                  <a:pt x="299" y="961"/>
                </a:lnTo>
                <a:lnTo>
                  <a:pt x="300" y="963"/>
                </a:lnTo>
                <a:lnTo>
                  <a:pt x="300" y="965"/>
                </a:lnTo>
                <a:lnTo>
                  <a:pt x="300" y="966"/>
                </a:lnTo>
                <a:lnTo>
                  <a:pt x="300" y="967"/>
                </a:lnTo>
                <a:lnTo>
                  <a:pt x="299" y="967"/>
                </a:lnTo>
                <a:lnTo>
                  <a:pt x="298" y="967"/>
                </a:lnTo>
                <a:lnTo>
                  <a:pt x="296" y="967"/>
                </a:lnTo>
                <a:lnTo>
                  <a:pt x="293" y="967"/>
                </a:lnTo>
                <a:lnTo>
                  <a:pt x="291" y="967"/>
                </a:lnTo>
                <a:lnTo>
                  <a:pt x="287" y="967"/>
                </a:lnTo>
                <a:lnTo>
                  <a:pt x="283" y="967"/>
                </a:lnTo>
                <a:lnTo>
                  <a:pt x="279" y="967"/>
                </a:lnTo>
                <a:lnTo>
                  <a:pt x="274" y="967"/>
                </a:lnTo>
                <a:lnTo>
                  <a:pt x="268" y="967"/>
                </a:lnTo>
                <a:lnTo>
                  <a:pt x="262" y="967"/>
                </a:lnTo>
                <a:lnTo>
                  <a:pt x="255" y="967"/>
                </a:lnTo>
                <a:lnTo>
                  <a:pt x="248" y="967"/>
                </a:lnTo>
                <a:lnTo>
                  <a:pt x="240" y="967"/>
                </a:lnTo>
                <a:lnTo>
                  <a:pt x="232" y="967"/>
                </a:lnTo>
                <a:lnTo>
                  <a:pt x="224" y="967"/>
                </a:lnTo>
                <a:lnTo>
                  <a:pt x="216" y="967"/>
                </a:lnTo>
                <a:lnTo>
                  <a:pt x="209" y="967"/>
                </a:lnTo>
                <a:lnTo>
                  <a:pt x="203" y="967"/>
                </a:lnTo>
                <a:lnTo>
                  <a:pt x="196" y="967"/>
                </a:lnTo>
                <a:lnTo>
                  <a:pt x="191" y="967"/>
                </a:lnTo>
                <a:lnTo>
                  <a:pt x="186" y="967"/>
                </a:lnTo>
                <a:lnTo>
                  <a:pt x="181" y="967"/>
                </a:lnTo>
                <a:lnTo>
                  <a:pt x="177" y="967"/>
                </a:lnTo>
                <a:lnTo>
                  <a:pt x="174" y="967"/>
                </a:lnTo>
                <a:lnTo>
                  <a:pt x="171" y="967"/>
                </a:lnTo>
                <a:lnTo>
                  <a:pt x="169" y="967"/>
                </a:lnTo>
                <a:lnTo>
                  <a:pt x="167" y="967"/>
                </a:lnTo>
                <a:lnTo>
                  <a:pt x="165" y="967"/>
                </a:lnTo>
                <a:lnTo>
                  <a:pt x="164" y="967"/>
                </a:lnTo>
                <a:lnTo>
                  <a:pt x="165" y="968"/>
                </a:lnTo>
                <a:lnTo>
                  <a:pt x="168" y="969"/>
                </a:lnTo>
                <a:lnTo>
                  <a:pt x="172" y="971"/>
                </a:lnTo>
                <a:lnTo>
                  <a:pt x="177" y="975"/>
                </a:lnTo>
                <a:lnTo>
                  <a:pt x="184" y="979"/>
                </a:lnTo>
                <a:lnTo>
                  <a:pt x="193" y="984"/>
                </a:lnTo>
                <a:lnTo>
                  <a:pt x="204" y="990"/>
                </a:lnTo>
                <a:lnTo>
                  <a:pt x="215" y="997"/>
                </a:lnTo>
                <a:lnTo>
                  <a:pt x="229" y="1005"/>
                </a:lnTo>
                <a:lnTo>
                  <a:pt x="244" y="1014"/>
                </a:lnTo>
                <a:lnTo>
                  <a:pt x="261" y="1024"/>
                </a:lnTo>
                <a:lnTo>
                  <a:pt x="279" y="1034"/>
                </a:lnTo>
                <a:lnTo>
                  <a:pt x="299" y="1046"/>
                </a:lnTo>
                <a:lnTo>
                  <a:pt x="321" y="1059"/>
                </a:lnTo>
                <a:lnTo>
                  <a:pt x="344" y="1072"/>
                </a:lnTo>
                <a:lnTo>
                  <a:pt x="369" y="1087"/>
                </a:lnTo>
                <a:lnTo>
                  <a:pt x="394" y="1101"/>
                </a:lnTo>
                <a:lnTo>
                  <a:pt x="417" y="1114"/>
                </a:lnTo>
                <a:lnTo>
                  <a:pt x="438" y="1127"/>
                </a:lnTo>
                <a:lnTo>
                  <a:pt x="458" y="1139"/>
                </a:lnTo>
                <a:lnTo>
                  <a:pt x="477" y="1149"/>
                </a:lnTo>
                <a:lnTo>
                  <a:pt x="493" y="1159"/>
                </a:lnTo>
                <a:lnTo>
                  <a:pt x="509" y="1168"/>
                </a:lnTo>
                <a:lnTo>
                  <a:pt x="522" y="1176"/>
                </a:lnTo>
                <a:lnTo>
                  <a:pt x="534" y="1183"/>
                </a:lnTo>
                <a:lnTo>
                  <a:pt x="545" y="1189"/>
                </a:lnTo>
                <a:lnTo>
                  <a:pt x="553" y="1194"/>
                </a:lnTo>
                <a:lnTo>
                  <a:pt x="561" y="1198"/>
                </a:lnTo>
                <a:lnTo>
                  <a:pt x="566" y="1202"/>
                </a:lnTo>
                <a:lnTo>
                  <a:pt x="570" y="1204"/>
                </a:lnTo>
                <a:lnTo>
                  <a:pt x="573" y="1205"/>
                </a:lnTo>
                <a:lnTo>
                  <a:pt x="573" y="1206"/>
                </a:lnTo>
                <a:lnTo>
                  <a:pt x="574" y="1205"/>
                </a:lnTo>
                <a:lnTo>
                  <a:pt x="577" y="1204"/>
                </a:lnTo>
                <a:lnTo>
                  <a:pt x="581" y="1202"/>
                </a:lnTo>
                <a:lnTo>
                  <a:pt x="586" y="1198"/>
                </a:lnTo>
                <a:lnTo>
                  <a:pt x="594" y="1194"/>
                </a:lnTo>
                <a:lnTo>
                  <a:pt x="602" y="1189"/>
                </a:lnTo>
                <a:lnTo>
                  <a:pt x="613" y="1183"/>
                </a:lnTo>
                <a:lnTo>
                  <a:pt x="625" y="1176"/>
                </a:lnTo>
                <a:lnTo>
                  <a:pt x="639" y="1168"/>
                </a:lnTo>
                <a:lnTo>
                  <a:pt x="654" y="1159"/>
                </a:lnTo>
                <a:lnTo>
                  <a:pt x="671" y="1149"/>
                </a:lnTo>
                <a:lnTo>
                  <a:pt x="690" y="1139"/>
                </a:lnTo>
                <a:lnTo>
                  <a:pt x="710" y="1127"/>
                </a:lnTo>
                <a:lnTo>
                  <a:pt x="732" y="1115"/>
                </a:lnTo>
                <a:lnTo>
                  <a:pt x="756" y="1101"/>
                </a:lnTo>
                <a:lnTo>
                  <a:pt x="781" y="1087"/>
                </a:lnTo>
                <a:lnTo>
                  <a:pt x="806" y="1072"/>
                </a:lnTo>
                <a:lnTo>
                  <a:pt x="829" y="1059"/>
                </a:lnTo>
                <a:lnTo>
                  <a:pt x="851" y="1046"/>
                </a:lnTo>
                <a:lnTo>
                  <a:pt x="871" y="1034"/>
                </a:lnTo>
                <a:lnTo>
                  <a:pt x="890" y="1024"/>
                </a:lnTo>
                <a:lnTo>
                  <a:pt x="907" y="1014"/>
                </a:lnTo>
                <a:lnTo>
                  <a:pt x="922" y="1005"/>
                </a:lnTo>
                <a:lnTo>
                  <a:pt x="936" y="997"/>
                </a:lnTo>
                <a:lnTo>
                  <a:pt x="948" y="990"/>
                </a:lnTo>
                <a:lnTo>
                  <a:pt x="959" y="984"/>
                </a:lnTo>
                <a:lnTo>
                  <a:pt x="968" y="979"/>
                </a:lnTo>
                <a:lnTo>
                  <a:pt x="975" y="975"/>
                </a:lnTo>
                <a:lnTo>
                  <a:pt x="981" y="971"/>
                </a:lnTo>
                <a:lnTo>
                  <a:pt x="985" y="969"/>
                </a:lnTo>
                <a:lnTo>
                  <a:pt x="987" y="968"/>
                </a:lnTo>
                <a:lnTo>
                  <a:pt x="988" y="967"/>
                </a:lnTo>
                <a:lnTo>
                  <a:pt x="987" y="967"/>
                </a:lnTo>
                <a:lnTo>
                  <a:pt x="986" y="967"/>
                </a:lnTo>
                <a:lnTo>
                  <a:pt x="984" y="967"/>
                </a:lnTo>
                <a:lnTo>
                  <a:pt x="981" y="967"/>
                </a:lnTo>
                <a:lnTo>
                  <a:pt x="978" y="967"/>
                </a:lnTo>
                <a:lnTo>
                  <a:pt x="975" y="967"/>
                </a:lnTo>
                <a:lnTo>
                  <a:pt x="971" y="967"/>
                </a:lnTo>
                <a:lnTo>
                  <a:pt x="966" y="967"/>
                </a:lnTo>
                <a:lnTo>
                  <a:pt x="961" y="967"/>
                </a:lnTo>
                <a:lnTo>
                  <a:pt x="955" y="967"/>
                </a:lnTo>
                <a:lnTo>
                  <a:pt x="949" y="967"/>
                </a:lnTo>
                <a:lnTo>
                  <a:pt x="943" y="967"/>
                </a:lnTo>
                <a:lnTo>
                  <a:pt x="935" y="967"/>
                </a:lnTo>
                <a:lnTo>
                  <a:pt x="928" y="967"/>
                </a:lnTo>
                <a:lnTo>
                  <a:pt x="919" y="967"/>
                </a:lnTo>
                <a:lnTo>
                  <a:pt x="911" y="967"/>
                </a:lnTo>
                <a:lnTo>
                  <a:pt x="903" y="967"/>
                </a:lnTo>
                <a:lnTo>
                  <a:pt x="896" y="967"/>
                </a:lnTo>
                <a:lnTo>
                  <a:pt x="889" y="967"/>
                </a:lnTo>
                <a:lnTo>
                  <a:pt x="883" y="967"/>
                </a:lnTo>
                <a:lnTo>
                  <a:pt x="877" y="967"/>
                </a:lnTo>
                <a:lnTo>
                  <a:pt x="872" y="967"/>
                </a:lnTo>
                <a:lnTo>
                  <a:pt x="868" y="967"/>
                </a:lnTo>
                <a:lnTo>
                  <a:pt x="864" y="967"/>
                </a:lnTo>
                <a:lnTo>
                  <a:pt x="860" y="967"/>
                </a:lnTo>
                <a:lnTo>
                  <a:pt x="857" y="967"/>
                </a:lnTo>
                <a:lnTo>
                  <a:pt x="855" y="967"/>
                </a:lnTo>
                <a:lnTo>
                  <a:pt x="853" y="967"/>
                </a:lnTo>
                <a:lnTo>
                  <a:pt x="851" y="967"/>
                </a:lnTo>
                <a:lnTo>
                  <a:pt x="850" y="967"/>
                </a:lnTo>
                <a:lnTo>
                  <a:pt x="850" y="966"/>
                </a:lnTo>
                <a:lnTo>
                  <a:pt x="850" y="964"/>
                </a:lnTo>
                <a:lnTo>
                  <a:pt x="850" y="962"/>
                </a:lnTo>
                <a:lnTo>
                  <a:pt x="850" y="959"/>
                </a:lnTo>
                <a:lnTo>
                  <a:pt x="850" y="956"/>
                </a:lnTo>
                <a:lnTo>
                  <a:pt x="850" y="951"/>
                </a:lnTo>
                <a:lnTo>
                  <a:pt x="850" y="947"/>
                </a:lnTo>
                <a:lnTo>
                  <a:pt x="849" y="941"/>
                </a:lnTo>
                <a:lnTo>
                  <a:pt x="849" y="935"/>
                </a:lnTo>
                <a:lnTo>
                  <a:pt x="849" y="928"/>
                </a:lnTo>
                <a:lnTo>
                  <a:pt x="849" y="921"/>
                </a:lnTo>
                <a:lnTo>
                  <a:pt x="849" y="913"/>
                </a:lnTo>
                <a:lnTo>
                  <a:pt x="848" y="904"/>
                </a:lnTo>
                <a:lnTo>
                  <a:pt x="848" y="895"/>
                </a:lnTo>
                <a:lnTo>
                  <a:pt x="848" y="885"/>
                </a:lnTo>
                <a:lnTo>
                  <a:pt x="847" y="874"/>
                </a:lnTo>
                <a:lnTo>
                  <a:pt x="846" y="863"/>
                </a:lnTo>
                <a:lnTo>
                  <a:pt x="845" y="852"/>
                </a:lnTo>
                <a:lnTo>
                  <a:pt x="843" y="840"/>
                </a:lnTo>
                <a:lnTo>
                  <a:pt x="841" y="827"/>
                </a:lnTo>
                <a:lnTo>
                  <a:pt x="839" y="814"/>
                </a:lnTo>
                <a:lnTo>
                  <a:pt x="837" y="800"/>
                </a:lnTo>
                <a:lnTo>
                  <a:pt x="834" y="786"/>
                </a:lnTo>
                <a:lnTo>
                  <a:pt x="830" y="771"/>
                </a:lnTo>
                <a:lnTo>
                  <a:pt x="827" y="756"/>
                </a:lnTo>
                <a:lnTo>
                  <a:pt x="823" y="740"/>
                </a:lnTo>
                <a:lnTo>
                  <a:pt x="819" y="723"/>
                </a:lnTo>
                <a:lnTo>
                  <a:pt x="814" y="707"/>
                </a:lnTo>
                <a:lnTo>
                  <a:pt x="809" y="689"/>
                </a:lnTo>
                <a:lnTo>
                  <a:pt x="804" y="671"/>
                </a:lnTo>
                <a:lnTo>
                  <a:pt x="798" y="653"/>
                </a:lnTo>
                <a:lnTo>
                  <a:pt x="792" y="634"/>
                </a:lnTo>
                <a:lnTo>
                  <a:pt x="785" y="615"/>
                </a:lnTo>
                <a:lnTo>
                  <a:pt x="778" y="597"/>
                </a:lnTo>
                <a:lnTo>
                  <a:pt x="770" y="578"/>
                </a:lnTo>
                <a:lnTo>
                  <a:pt x="762" y="559"/>
                </a:lnTo>
                <a:lnTo>
                  <a:pt x="753" y="541"/>
                </a:lnTo>
                <a:lnTo>
                  <a:pt x="744" y="522"/>
                </a:lnTo>
                <a:lnTo>
                  <a:pt x="734" y="503"/>
                </a:lnTo>
                <a:lnTo>
                  <a:pt x="723" y="485"/>
                </a:lnTo>
                <a:lnTo>
                  <a:pt x="712" y="466"/>
                </a:lnTo>
                <a:lnTo>
                  <a:pt x="701" y="448"/>
                </a:lnTo>
                <a:lnTo>
                  <a:pt x="688" y="429"/>
                </a:lnTo>
                <a:lnTo>
                  <a:pt x="676" y="411"/>
                </a:lnTo>
                <a:lnTo>
                  <a:pt x="663" y="392"/>
                </a:lnTo>
                <a:lnTo>
                  <a:pt x="649" y="374"/>
                </a:lnTo>
                <a:lnTo>
                  <a:pt x="634" y="356"/>
                </a:lnTo>
                <a:lnTo>
                  <a:pt x="620" y="337"/>
                </a:lnTo>
                <a:lnTo>
                  <a:pt x="605" y="320"/>
                </a:lnTo>
                <a:lnTo>
                  <a:pt x="590" y="303"/>
                </a:lnTo>
                <a:lnTo>
                  <a:pt x="574" y="286"/>
                </a:lnTo>
                <a:lnTo>
                  <a:pt x="558" y="270"/>
                </a:lnTo>
                <a:lnTo>
                  <a:pt x="542" y="254"/>
                </a:lnTo>
                <a:lnTo>
                  <a:pt x="526" y="239"/>
                </a:lnTo>
                <a:lnTo>
                  <a:pt x="509" y="224"/>
                </a:lnTo>
                <a:lnTo>
                  <a:pt x="492" y="210"/>
                </a:lnTo>
                <a:lnTo>
                  <a:pt x="475" y="196"/>
                </a:lnTo>
                <a:lnTo>
                  <a:pt x="457" y="183"/>
                </a:lnTo>
                <a:lnTo>
                  <a:pt x="440" y="170"/>
                </a:lnTo>
                <a:lnTo>
                  <a:pt x="422" y="157"/>
                </a:lnTo>
                <a:lnTo>
                  <a:pt x="403" y="146"/>
                </a:lnTo>
                <a:lnTo>
                  <a:pt x="385" y="134"/>
                </a:lnTo>
                <a:lnTo>
                  <a:pt x="366" y="123"/>
                </a:lnTo>
                <a:lnTo>
                  <a:pt x="347" y="113"/>
                </a:lnTo>
                <a:lnTo>
                  <a:pt x="329" y="103"/>
                </a:lnTo>
                <a:lnTo>
                  <a:pt x="311" y="94"/>
                </a:lnTo>
                <a:lnTo>
                  <a:pt x="293" y="85"/>
                </a:lnTo>
                <a:lnTo>
                  <a:pt x="276" y="77"/>
                </a:lnTo>
                <a:lnTo>
                  <a:pt x="260" y="69"/>
                </a:lnTo>
                <a:lnTo>
                  <a:pt x="243" y="62"/>
                </a:lnTo>
                <a:lnTo>
                  <a:pt x="228" y="55"/>
                </a:lnTo>
                <a:lnTo>
                  <a:pt x="212" y="49"/>
                </a:lnTo>
                <a:lnTo>
                  <a:pt x="197" y="43"/>
                </a:lnTo>
                <a:lnTo>
                  <a:pt x="183" y="38"/>
                </a:lnTo>
                <a:lnTo>
                  <a:pt x="169" y="33"/>
                </a:lnTo>
                <a:lnTo>
                  <a:pt x="155" y="29"/>
                </a:lnTo>
                <a:lnTo>
                  <a:pt x="142" y="25"/>
                </a:lnTo>
                <a:lnTo>
                  <a:pt x="129" y="22"/>
                </a:lnTo>
                <a:lnTo>
                  <a:pt x="117" y="19"/>
                </a:lnTo>
                <a:lnTo>
                  <a:pt x="105" y="17"/>
                </a:lnTo>
                <a:lnTo>
                  <a:pt x="94" y="15"/>
                </a:lnTo>
                <a:lnTo>
                  <a:pt x="83" y="13"/>
                </a:lnTo>
                <a:lnTo>
                  <a:pt x="74" y="11"/>
                </a:lnTo>
                <a:lnTo>
                  <a:pt x="65" y="9"/>
                </a:lnTo>
                <a:lnTo>
                  <a:pt x="57" y="8"/>
                </a:lnTo>
                <a:lnTo>
                  <a:pt x="50" y="6"/>
                </a:lnTo>
                <a:lnTo>
                  <a:pt x="44" y="5"/>
                </a:lnTo>
                <a:lnTo>
                  <a:pt x="38" y="4"/>
                </a:lnTo>
                <a:lnTo>
                  <a:pt x="33" y="3"/>
                </a:lnTo>
                <a:lnTo>
                  <a:pt x="29" y="2"/>
                </a:lnTo>
                <a:lnTo>
                  <a:pt x="25" y="1"/>
                </a:lnTo>
                <a:lnTo>
                  <a:pt x="23" y="1"/>
                </a:lnTo>
                <a:lnTo>
                  <a:pt x="21" y="0"/>
                </a:lnTo>
                <a:lnTo>
                  <a:pt x="20" y="0"/>
                </a:lnTo>
                <a:lnTo>
                  <a:pt x="19" y="0"/>
                </a:lnTo>
                <a:lnTo>
                  <a:pt x="19" y="1"/>
                </a:lnTo>
                <a:lnTo>
                  <a:pt x="20" y="2"/>
                </a:lnTo>
                <a:lnTo>
                  <a:pt x="22" y="5"/>
                </a:lnTo>
                <a:lnTo>
                  <a:pt x="24" y="8"/>
                </a:lnTo>
                <a:lnTo>
                  <a:pt x="27" y="13"/>
                </a:lnTo>
                <a:lnTo>
                  <a:pt x="30" y="19"/>
                </a:lnTo>
                <a:lnTo>
                  <a:pt x="34" y="25"/>
                </a:lnTo>
                <a:lnTo>
                  <a:pt x="38" y="33"/>
                </a:lnTo>
                <a:lnTo>
                  <a:pt x="43" y="42"/>
                </a:lnTo>
                <a:lnTo>
                  <a:pt x="49" y="52"/>
                </a:lnTo>
                <a:lnTo>
                  <a:pt x="55" y="62"/>
                </a:lnTo>
                <a:lnTo>
                  <a:pt x="62" y="74"/>
                </a:lnTo>
                <a:lnTo>
                  <a:pt x="70" y="87"/>
                </a:lnTo>
                <a:lnTo>
                  <a:pt x="78" y="101"/>
                </a:lnTo>
                <a:lnTo>
                  <a:pt x="86" y="116"/>
                </a:lnTo>
                <a:lnTo>
                  <a:pt x="96" y="132"/>
                </a:lnTo>
                <a:lnTo>
                  <a:pt x="105" y="148"/>
                </a:lnTo>
                <a:lnTo>
                  <a:pt x="114" y="163"/>
                </a:lnTo>
                <a:lnTo>
                  <a:pt x="122" y="177"/>
                </a:lnTo>
                <a:lnTo>
                  <a:pt x="129" y="190"/>
                </a:lnTo>
                <a:lnTo>
                  <a:pt x="136" y="202"/>
                </a:lnTo>
                <a:lnTo>
                  <a:pt x="142" y="212"/>
                </a:lnTo>
                <a:lnTo>
                  <a:pt x="148" y="222"/>
                </a:lnTo>
                <a:lnTo>
                  <a:pt x="153" y="231"/>
                </a:lnTo>
                <a:lnTo>
                  <a:pt x="157" y="239"/>
                </a:lnTo>
                <a:lnTo>
                  <a:pt x="161" y="245"/>
                </a:lnTo>
                <a:lnTo>
                  <a:pt x="165" y="251"/>
                </a:lnTo>
                <a:lnTo>
                  <a:pt x="167" y="256"/>
                </a:lnTo>
                <a:lnTo>
                  <a:pt x="169" y="259"/>
                </a:lnTo>
                <a:lnTo>
                  <a:pt x="171" y="262"/>
                </a:lnTo>
                <a:lnTo>
                  <a:pt x="172" y="263"/>
                </a:lnTo>
                <a:lnTo>
                  <a:pt x="172" y="264"/>
                </a:lnTo>
                <a:lnTo>
                  <a:pt x="171" y="266"/>
                </a:lnTo>
                <a:lnTo>
                  <a:pt x="169" y="269"/>
                </a:lnTo>
                <a:lnTo>
                  <a:pt x="167" y="273"/>
                </a:lnTo>
                <a:lnTo>
                  <a:pt x="164" y="278"/>
                </a:lnTo>
                <a:lnTo>
                  <a:pt x="160" y="285"/>
                </a:lnTo>
                <a:lnTo>
                  <a:pt x="156" y="292"/>
                </a:lnTo>
                <a:lnTo>
                  <a:pt x="151" y="301"/>
                </a:lnTo>
                <a:lnTo>
                  <a:pt x="145" y="311"/>
                </a:lnTo>
                <a:lnTo>
                  <a:pt x="138" y="322"/>
                </a:lnTo>
                <a:lnTo>
                  <a:pt x="131" y="334"/>
                </a:lnTo>
                <a:lnTo>
                  <a:pt x="124" y="347"/>
                </a:lnTo>
                <a:lnTo>
                  <a:pt x="115" y="362"/>
                </a:lnTo>
                <a:lnTo>
                  <a:pt x="106" y="377"/>
                </a:lnTo>
                <a:lnTo>
                  <a:pt x="96" y="394"/>
                </a:lnTo>
                <a:lnTo>
                  <a:pt x="86" y="412"/>
                </a:lnTo>
                <a:lnTo>
                  <a:pt x="76" y="430"/>
                </a:lnTo>
                <a:lnTo>
                  <a:pt x="66" y="447"/>
                </a:lnTo>
                <a:lnTo>
                  <a:pt x="57" y="462"/>
                </a:lnTo>
                <a:lnTo>
                  <a:pt x="48" y="477"/>
                </a:lnTo>
                <a:lnTo>
                  <a:pt x="41" y="490"/>
                </a:lnTo>
                <a:lnTo>
                  <a:pt x="34" y="502"/>
                </a:lnTo>
                <a:lnTo>
                  <a:pt x="27" y="513"/>
                </a:lnTo>
                <a:lnTo>
                  <a:pt x="22" y="523"/>
                </a:lnTo>
                <a:lnTo>
                  <a:pt x="17" y="532"/>
                </a:lnTo>
                <a:lnTo>
                  <a:pt x="12" y="539"/>
                </a:lnTo>
                <a:lnTo>
                  <a:pt x="8" y="546"/>
                </a:lnTo>
                <a:lnTo>
                  <a:pt x="5" y="551"/>
                </a:lnTo>
                <a:lnTo>
                  <a:pt x="3" y="555"/>
                </a:lnTo>
                <a:lnTo>
                  <a:pt x="1" y="558"/>
                </a:lnTo>
                <a:lnTo>
                  <a:pt x="0" y="559"/>
                </a:lnTo>
                <a:lnTo>
                  <a:pt x="0" y="560"/>
                </a:lnTo>
                <a:lnTo>
                  <a:pt x="1" y="560"/>
                </a:lnTo>
                <a:lnTo>
                  <a:pt x="2" y="561"/>
                </a:lnTo>
                <a:lnTo>
                  <a:pt x="4" y="561"/>
                </a:lnTo>
                <a:lnTo>
                  <a:pt x="5" y="562"/>
                </a:lnTo>
                <a:lnTo>
                  <a:pt x="7" y="562"/>
                </a:lnTo>
                <a:lnTo>
                  <a:pt x="9" y="563"/>
                </a:lnTo>
                <a:lnTo>
                  <a:pt x="12" y="564"/>
                </a:lnTo>
                <a:lnTo>
                  <a:pt x="14" y="565"/>
                </a:lnTo>
                <a:lnTo>
                  <a:pt x="17" y="566"/>
                </a:lnTo>
                <a:lnTo>
                  <a:pt x="20" y="567"/>
                </a:lnTo>
                <a:lnTo>
                  <a:pt x="24" y="568"/>
                </a:lnTo>
                <a:lnTo>
                  <a:pt x="28" y="570"/>
                </a:lnTo>
                <a:lnTo>
                  <a:pt x="32" y="571"/>
                </a:lnTo>
                <a:lnTo>
                  <a:pt x="36" y="572"/>
                </a:lnTo>
                <a:lnTo>
                  <a:pt x="41" y="574"/>
                </a:lnTo>
                <a:lnTo>
                  <a:pt x="46" y="576"/>
                </a:lnTo>
                <a:lnTo>
                  <a:pt x="51" y="578"/>
                </a:lnTo>
                <a:lnTo>
                  <a:pt x="56" y="581"/>
                </a:lnTo>
                <a:lnTo>
                  <a:pt x="62" y="583"/>
                </a:lnTo>
                <a:lnTo>
                  <a:pt x="67" y="586"/>
                </a:lnTo>
                <a:lnTo>
                  <a:pt x="73" y="590"/>
                </a:lnTo>
                <a:lnTo>
                  <a:pt x="79" y="593"/>
                </a:lnTo>
                <a:lnTo>
                  <a:pt x="85" y="597"/>
                </a:lnTo>
                <a:lnTo>
                  <a:pt x="92" y="601"/>
                </a:lnTo>
                <a:lnTo>
                  <a:pt x="98" y="605"/>
                </a:lnTo>
                <a:lnTo>
                  <a:pt x="105" y="609"/>
                </a:lnTo>
                <a:lnTo>
                  <a:pt x="112" y="614"/>
                </a:lnTo>
                <a:lnTo>
                  <a:pt x="120" y="619"/>
                </a:lnTo>
                <a:lnTo>
                  <a:pt x="127" y="624"/>
                </a:lnTo>
                <a:lnTo>
                  <a:pt x="135" y="630"/>
                </a:lnTo>
                <a:lnTo>
                  <a:pt x="142" y="636"/>
                </a:lnTo>
                <a:lnTo>
                  <a:pt x="150" y="642"/>
                </a:lnTo>
                <a:lnTo>
                  <a:pt x="157" y="648"/>
                </a:lnTo>
                <a:lnTo>
                  <a:pt x="165" y="654"/>
                </a:lnTo>
                <a:lnTo>
                  <a:pt x="172" y="661"/>
                </a:lnTo>
                <a:lnTo>
                  <a:pt x="179" y="668"/>
                </a:lnTo>
                <a:lnTo>
                  <a:pt x="186" y="676"/>
                </a:lnTo>
                <a:lnTo>
                  <a:pt x="193" y="683"/>
                </a:lnTo>
                <a:lnTo>
                  <a:pt x="199" y="691"/>
                </a:lnTo>
                <a:lnTo>
                  <a:pt x="206" y="699"/>
                </a:lnTo>
                <a:lnTo>
                  <a:pt x="212" y="708"/>
                </a:lnTo>
                <a:lnTo>
                  <a:pt x="219" y="717"/>
                </a:lnTo>
                <a:lnTo>
                  <a:pt x="225" y="725"/>
                </a:lnTo>
                <a:lnTo>
                  <a:pt x="231" y="735"/>
                </a:lnTo>
                <a:lnTo>
                  <a:pt x="237" y="744"/>
                </a:lnTo>
                <a:lnTo>
                  <a:pt x="243" y="754"/>
                </a:lnTo>
                <a:lnTo>
                  <a:pt x="248" y="764"/>
                </a:lnTo>
                <a:lnTo>
                  <a:pt x="254" y="774"/>
                </a:lnTo>
                <a:lnTo>
                  <a:pt x="259" y="783"/>
                </a:lnTo>
                <a:lnTo>
                  <a:pt x="263" y="793"/>
                </a:lnTo>
                <a:lnTo>
                  <a:pt x="267" y="802"/>
                </a:lnTo>
                <a:lnTo>
                  <a:pt x="271" y="812"/>
                </a:lnTo>
                <a:lnTo>
                  <a:pt x="275" y="821"/>
                </a:lnTo>
                <a:lnTo>
                  <a:pt x="279" y="830"/>
                </a:lnTo>
                <a:lnTo>
                  <a:pt x="282" y="839"/>
                </a:lnTo>
                <a:lnTo>
                  <a:pt x="284" y="848"/>
                </a:lnTo>
                <a:lnTo>
                  <a:pt x="287" y="857"/>
                </a:lnTo>
                <a:lnTo>
                  <a:pt x="289" y="866"/>
                </a:lnTo>
                <a:lnTo>
                  <a:pt x="291" y="875"/>
                </a:lnTo>
                <a:lnTo>
                  <a:pt x="292" y="883"/>
                </a:lnTo>
                <a:lnTo>
                  <a:pt x="293" y="892"/>
                </a:lnTo>
                <a:lnTo>
                  <a:pt x="294" y="900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3" name="Freeform 4"/>
          <p:cNvSpPr>
            <a:spLocks noChangeAspect="1"/>
          </p:cNvSpPr>
          <p:nvPr/>
        </p:nvSpPr>
        <p:spPr bwMode="auto">
          <a:xfrm>
            <a:off x="4114468" y="3738035"/>
            <a:ext cx="2266950" cy="1860550"/>
          </a:xfrm>
          <a:custGeom>
            <a:avLst/>
            <a:gdLst>
              <a:gd name="T0" fmla="*/ 924209269 w 1207"/>
              <a:gd name="T1" fmla="*/ 1050392394 h 991"/>
              <a:gd name="T2" fmla="*/ 850132435 w 1207"/>
              <a:gd name="T3" fmla="*/ 1057442206 h 991"/>
              <a:gd name="T4" fmla="*/ 843076157 w 1207"/>
              <a:gd name="T5" fmla="*/ 1043342582 h 991"/>
              <a:gd name="T6" fmla="*/ 843076157 w 1207"/>
              <a:gd name="T7" fmla="*/ 944648736 h 991"/>
              <a:gd name="T8" fmla="*/ 843076157 w 1207"/>
              <a:gd name="T9" fmla="*/ 761359261 h 991"/>
              <a:gd name="T10" fmla="*/ 843076157 w 1207"/>
              <a:gd name="T11" fmla="*/ 623890746 h 991"/>
              <a:gd name="T12" fmla="*/ 843076157 w 1207"/>
              <a:gd name="T13" fmla="*/ 578067908 h 991"/>
              <a:gd name="T14" fmla="*/ 761943045 w 1207"/>
              <a:gd name="T15" fmla="*/ 719060390 h 991"/>
              <a:gd name="T16" fmla="*/ 522072786 w 1207"/>
              <a:gd name="T17" fmla="*/ 1134988258 h 991"/>
              <a:gd name="T18" fmla="*/ 201069239 w 1207"/>
              <a:gd name="T19" fmla="*/ 1691908374 h 991"/>
              <a:gd name="T20" fmla="*/ 28219485 w 1207"/>
              <a:gd name="T21" fmla="*/ 1987991553 h 991"/>
              <a:gd name="T22" fmla="*/ 14110682 w 1207"/>
              <a:gd name="T23" fmla="*/ 2058487794 h 991"/>
              <a:gd name="T24" fmla="*/ 165793483 w 1207"/>
              <a:gd name="T25" fmla="*/ 2147483647 h 991"/>
              <a:gd name="T26" fmla="*/ 472688113 w 1207"/>
              <a:gd name="T27" fmla="*/ 2147483647 h 991"/>
              <a:gd name="T28" fmla="*/ 737250767 w 1207"/>
              <a:gd name="T29" fmla="*/ 2147483647 h 991"/>
              <a:gd name="T30" fmla="*/ 843076157 w 1207"/>
              <a:gd name="T31" fmla="*/ 2147483647 h 991"/>
              <a:gd name="T32" fmla="*/ 843076157 w 1207"/>
              <a:gd name="T33" fmla="*/ 2147483647 h 991"/>
              <a:gd name="T34" fmla="*/ 843076157 w 1207"/>
              <a:gd name="T35" fmla="*/ 2147483647 h 991"/>
              <a:gd name="T36" fmla="*/ 843076157 w 1207"/>
              <a:gd name="T37" fmla="*/ 2147483647 h 991"/>
              <a:gd name="T38" fmla="*/ 843076157 w 1207"/>
              <a:gd name="T39" fmla="*/ 2147483647 h 991"/>
              <a:gd name="T40" fmla="*/ 850132435 w 1207"/>
              <a:gd name="T41" fmla="*/ 2147483647 h 991"/>
              <a:gd name="T42" fmla="*/ 952430626 w 1207"/>
              <a:gd name="T43" fmla="*/ 2147483647 h 991"/>
              <a:gd name="T44" fmla="*/ 1185246719 w 1207"/>
              <a:gd name="T45" fmla="*/ 2147483647 h 991"/>
              <a:gd name="T46" fmla="*/ 1513304490 w 1207"/>
              <a:gd name="T47" fmla="*/ 2147483647 h 991"/>
              <a:gd name="T48" fmla="*/ 1911915651 w 1207"/>
              <a:gd name="T49" fmla="*/ 2147483647 h 991"/>
              <a:gd name="T50" fmla="*/ 2147483647 w 1207"/>
              <a:gd name="T51" fmla="*/ 2147483647 h 991"/>
              <a:gd name="T52" fmla="*/ 2147483647 w 1207"/>
              <a:gd name="T53" fmla="*/ 2147483647 h 991"/>
              <a:gd name="T54" fmla="*/ 2147483647 w 1207"/>
              <a:gd name="T55" fmla="*/ 2147483647 h 991"/>
              <a:gd name="T56" fmla="*/ 2147483647 w 1207"/>
              <a:gd name="T57" fmla="*/ 1935120311 h 991"/>
              <a:gd name="T58" fmla="*/ 2147483647 w 1207"/>
              <a:gd name="T59" fmla="*/ 1649609503 h 991"/>
              <a:gd name="T60" fmla="*/ 2147483647 w 1207"/>
              <a:gd name="T61" fmla="*/ 1339427169 h 991"/>
              <a:gd name="T62" fmla="*/ 2147483647 w 1207"/>
              <a:gd name="T63" fmla="*/ 1004569555 h 991"/>
              <a:gd name="T64" fmla="*/ 2147483647 w 1207"/>
              <a:gd name="T65" fmla="*/ 676763396 h 991"/>
              <a:gd name="T66" fmla="*/ 2147483647 w 1207"/>
              <a:gd name="T67" fmla="*/ 405352094 h 991"/>
              <a:gd name="T68" fmla="*/ 2147483647 w 1207"/>
              <a:gd name="T69" fmla="*/ 204438970 h 991"/>
              <a:gd name="T70" fmla="*/ 2147483647 w 1207"/>
              <a:gd name="T71" fmla="*/ 91645706 h 991"/>
              <a:gd name="T72" fmla="*/ 2147483647 w 1207"/>
              <a:gd name="T73" fmla="*/ 70496270 h 991"/>
              <a:gd name="T74" fmla="*/ 2147483647 w 1207"/>
              <a:gd name="T75" fmla="*/ 151566320 h 991"/>
              <a:gd name="T76" fmla="*/ 2147483647 w 1207"/>
              <a:gd name="T77" fmla="*/ 338381698 h 991"/>
              <a:gd name="T78" fmla="*/ 2147483647 w 1207"/>
              <a:gd name="T79" fmla="*/ 521671291 h 991"/>
              <a:gd name="T80" fmla="*/ 2147483647 w 1207"/>
              <a:gd name="T81" fmla="*/ 602741311 h 991"/>
              <a:gd name="T82" fmla="*/ 2147483647 w 1207"/>
              <a:gd name="T83" fmla="*/ 578067908 h 991"/>
              <a:gd name="T84" fmla="*/ 2147483647 w 1207"/>
              <a:gd name="T85" fmla="*/ 437075309 h 991"/>
              <a:gd name="T86" fmla="*/ 2147483647 w 1207"/>
              <a:gd name="T87" fmla="*/ 200913125 h 991"/>
              <a:gd name="T88" fmla="*/ 2147483647 w 1207"/>
              <a:gd name="T89" fmla="*/ 42297008 h 991"/>
              <a:gd name="T90" fmla="*/ 2147483647 w 1207"/>
              <a:gd name="T91" fmla="*/ 0 h 991"/>
              <a:gd name="T92" fmla="*/ 2147483647 w 1207"/>
              <a:gd name="T93" fmla="*/ 45822853 h 991"/>
              <a:gd name="T94" fmla="*/ 2147483647 w 1207"/>
              <a:gd name="T95" fmla="*/ 162141976 h 991"/>
              <a:gd name="T96" fmla="*/ 2144731979 w 1207"/>
              <a:gd name="T97" fmla="*/ 324282075 h 991"/>
              <a:gd name="T98" fmla="*/ 2024795911 w 1207"/>
              <a:gd name="T99" fmla="*/ 493473921 h 991"/>
              <a:gd name="T100" fmla="*/ 1866056417 w 1207"/>
              <a:gd name="T101" fmla="*/ 659139806 h 991"/>
              <a:gd name="T102" fmla="*/ 1672043514 w 1207"/>
              <a:gd name="T103" fmla="*/ 803656255 h 991"/>
              <a:gd name="T104" fmla="*/ 1453338334 w 1207"/>
              <a:gd name="T105" fmla="*/ 923499301 h 991"/>
              <a:gd name="T106" fmla="*/ 1238158475 w 1207"/>
              <a:gd name="T107" fmla="*/ 1004569555 h 991"/>
              <a:gd name="T108" fmla="*/ 1047672772 w 1207"/>
              <a:gd name="T109" fmla="*/ 1039818615 h 99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207"/>
              <a:gd name="T166" fmla="*/ 0 h 991"/>
              <a:gd name="T167" fmla="*/ 1207 w 1207"/>
              <a:gd name="T168" fmla="*/ 991 h 99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207" h="991">
                <a:moveTo>
                  <a:pt x="297" y="295"/>
                </a:moveTo>
                <a:lnTo>
                  <a:pt x="290" y="296"/>
                </a:lnTo>
                <a:lnTo>
                  <a:pt x="284" y="296"/>
                </a:lnTo>
                <a:lnTo>
                  <a:pt x="277" y="297"/>
                </a:lnTo>
                <a:lnTo>
                  <a:pt x="272" y="297"/>
                </a:lnTo>
                <a:lnTo>
                  <a:pt x="267" y="298"/>
                </a:lnTo>
                <a:lnTo>
                  <a:pt x="262" y="298"/>
                </a:lnTo>
                <a:lnTo>
                  <a:pt x="257" y="299"/>
                </a:lnTo>
                <a:lnTo>
                  <a:pt x="254" y="299"/>
                </a:lnTo>
                <a:lnTo>
                  <a:pt x="250" y="299"/>
                </a:lnTo>
                <a:lnTo>
                  <a:pt x="247" y="299"/>
                </a:lnTo>
                <a:lnTo>
                  <a:pt x="245" y="300"/>
                </a:lnTo>
                <a:lnTo>
                  <a:pt x="243" y="300"/>
                </a:lnTo>
                <a:lnTo>
                  <a:pt x="241" y="300"/>
                </a:lnTo>
                <a:lnTo>
                  <a:pt x="240" y="300"/>
                </a:lnTo>
                <a:lnTo>
                  <a:pt x="239" y="300"/>
                </a:lnTo>
                <a:lnTo>
                  <a:pt x="239" y="299"/>
                </a:lnTo>
                <a:lnTo>
                  <a:pt x="239" y="298"/>
                </a:lnTo>
                <a:lnTo>
                  <a:pt x="239" y="296"/>
                </a:lnTo>
                <a:lnTo>
                  <a:pt x="239" y="293"/>
                </a:lnTo>
                <a:lnTo>
                  <a:pt x="239" y="291"/>
                </a:lnTo>
                <a:lnTo>
                  <a:pt x="239" y="287"/>
                </a:lnTo>
                <a:lnTo>
                  <a:pt x="239" y="283"/>
                </a:lnTo>
                <a:lnTo>
                  <a:pt x="239" y="279"/>
                </a:lnTo>
                <a:lnTo>
                  <a:pt x="239" y="274"/>
                </a:lnTo>
                <a:lnTo>
                  <a:pt x="239" y="268"/>
                </a:lnTo>
                <a:lnTo>
                  <a:pt x="239" y="262"/>
                </a:lnTo>
                <a:lnTo>
                  <a:pt x="239" y="255"/>
                </a:lnTo>
                <a:lnTo>
                  <a:pt x="239" y="248"/>
                </a:lnTo>
                <a:lnTo>
                  <a:pt x="239" y="241"/>
                </a:lnTo>
                <a:lnTo>
                  <a:pt x="239" y="232"/>
                </a:lnTo>
                <a:lnTo>
                  <a:pt x="239" y="224"/>
                </a:lnTo>
                <a:lnTo>
                  <a:pt x="239" y="216"/>
                </a:lnTo>
                <a:lnTo>
                  <a:pt x="239" y="209"/>
                </a:lnTo>
                <a:lnTo>
                  <a:pt x="239" y="203"/>
                </a:lnTo>
                <a:lnTo>
                  <a:pt x="239" y="197"/>
                </a:lnTo>
                <a:lnTo>
                  <a:pt x="239" y="191"/>
                </a:lnTo>
                <a:lnTo>
                  <a:pt x="239" y="186"/>
                </a:lnTo>
                <a:lnTo>
                  <a:pt x="239" y="181"/>
                </a:lnTo>
                <a:lnTo>
                  <a:pt x="239" y="177"/>
                </a:lnTo>
                <a:lnTo>
                  <a:pt x="239" y="174"/>
                </a:lnTo>
                <a:lnTo>
                  <a:pt x="239" y="171"/>
                </a:lnTo>
                <a:lnTo>
                  <a:pt x="239" y="169"/>
                </a:lnTo>
                <a:lnTo>
                  <a:pt x="239" y="167"/>
                </a:lnTo>
                <a:lnTo>
                  <a:pt x="239" y="166"/>
                </a:lnTo>
                <a:lnTo>
                  <a:pt x="239" y="165"/>
                </a:lnTo>
                <a:lnTo>
                  <a:pt x="239" y="164"/>
                </a:lnTo>
                <a:lnTo>
                  <a:pt x="239" y="165"/>
                </a:lnTo>
                <a:lnTo>
                  <a:pt x="237" y="168"/>
                </a:lnTo>
                <a:lnTo>
                  <a:pt x="235" y="172"/>
                </a:lnTo>
                <a:lnTo>
                  <a:pt x="232" y="177"/>
                </a:lnTo>
                <a:lnTo>
                  <a:pt x="227" y="185"/>
                </a:lnTo>
                <a:lnTo>
                  <a:pt x="222" y="193"/>
                </a:lnTo>
                <a:lnTo>
                  <a:pt x="216" y="204"/>
                </a:lnTo>
                <a:lnTo>
                  <a:pt x="209" y="216"/>
                </a:lnTo>
                <a:lnTo>
                  <a:pt x="201" y="230"/>
                </a:lnTo>
                <a:lnTo>
                  <a:pt x="192" y="245"/>
                </a:lnTo>
                <a:lnTo>
                  <a:pt x="183" y="262"/>
                </a:lnTo>
                <a:lnTo>
                  <a:pt x="172" y="281"/>
                </a:lnTo>
                <a:lnTo>
                  <a:pt x="160" y="301"/>
                </a:lnTo>
                <a:lnTo>
                  <a:pt x="148" y="322"/>
                </a:lnTo>
                <a:lnTo>
                  <a:pt x="134" y="346"/>
                </a:lnTo>
                <a:lnTo>
                  <a:pt x="120" y="371"/>
                </a:lnTo>
                <a:lnTo>
                  <a:pt x="105" y="396"/>
                </a:lnTo>
                <a:lnTo>
                  <a:pt x="92" y="419"/>
                </a:lnTo>
                <a:lnTo>
                  <a:pt x="79" y="441"/>
                </a:lnTo>
                <a:lnTo>
                  <a:pt x="67" y="461"/>
                </a:lnTo>
                <a:lnTo>
                  <a:pt x="57" y="480"/>
                </a:lnTo>
                <a:lnTo>
                  <a:pt x="47" y="497"/>
                </a:lnTo>
                <a:lnTo>
                  <a:pt x="38" y="512"/>
                </a:lnTo>
                <a:lnTo>
                  <a:pt x="30" y="526"/>
                </a:lnTo>
                <a:lnTo>
                  <a:pt x="23" y="538"/>
                </a:lnTo>
                <a:lnTo>
                  <a:pt x="17" y="548"/>
                </a:lnTo>
                <a:lnTo>
                  <a:pt x="12" y="557"/>
                </a:lnTo>
                <a:lnTo>
                  <a:pt x="8" y="564"/>
                </a:lnTo>
                <a:lnTo>
                  <a:pt x="4" y="570"/>
                </a:lnTo>
                <a:lnTo>
                  <a:pt x="2" y="574"/>
                </a:lnTo>
                <a:lnTo>
                  <a:pt x="1" y="576"/>
                </a:lnTo>
                <a:lnTo>
                  <a:pt x="0" y="577"/>
                </a:lnTo>
                <a:lnTo>
                  <a:pt x="1" y="578"/>
                </a:lnTo>
                <a:lnTo>
                  <a:pt x="2" y="580"/>
                </a:lnTo>
                <a:lnTo>
                  <a:pt x="4" y="584"/>
                </a:lnTo>
                <a:lnTo>
                  <a:pt x="8" y="590"/>
                </a:lnTo>
                <a:lnTo>
                  <a:pt x="12" y="597"/>
                </a:lnTo>
                <a:lnTo>
                  <a:pt x="17" y="606"/>
                </a:lnTo>
                <a:lnTo>
                  <a:pt x="23" y="617"/>
                </a:lnTo>
                <a:lnTo>
                  <a:pt x="30" y="629"/>
                </a:lnTo>
                <a:lnTo>
                  <a:pt x="38" y="643"/>
                </a:lnTo>
                <a:lnTo>
                  <a:pt x="47" y="658"/>
                </a:lnTo>
                <a:lnTo>
                  <a:pt x="57" y="675"/>
                </a:lnTo>
                <a:lnTo>
                  <a:pt x="67" y="693"/>
                </a:lnTo>
                <a:lnTo>
                  <a:pt x="79" y="713"/>
                </a:lnTo>
                <a:lnTo>
                  <a:pt x="92" y="735"/>
                </a:lnTo>
                <a:lnTo>
                  <a:pt x="105" y="759"/>
                </a:lnTo>
                <a:lnTo>
                  <a:pt x="120" y="784"/>
                </a:lnTo>
                <a:lnTo>
                  <a:pt x="134" y="809"/>
                </a:lnTo>
                <a:lnTo>
                  <a:pt x="148" y="832"/>
                </a:lnTo>
                <a:lnTo>
                  <a:pt x="160" y="854"/>
                </a:lnTo>
                <a:lnTo>
                  <a:pt x="172" y="874"/>
                </a:lnTo>
                <a:lnTo>
                  <a:pt x="183" y="892"/>
                </a:lnTo>
                <a:lnTo>
                  <a:pt x="192" y="909"/>
                </a:lnTo>
                <a:lnTo>
                  <a:pt x="201" y="925"/>
                </a:lnTo>
                <a:lnTo>
                  <a:pt x="209" y="938"/>
                </a:lnTo>
                <a:lnTo>
                  <a:pt x="216" y="950"/>
                </a:lnTo>
                <a:lnTo>
                  <a:pt x="222" y="961"/>
                </a:lnTo>
                <a:lnTo>
                  <a:pt x="227" y="970"/>
                </a:lnTo>
                <a:lnTo>
                  <a:pt x="232" y="977"/>
                </a:lnTo>
                <a:lnTo>
                  <a:pt x="235" y="983"/>
                </a:lnTo>
                <a:lnTo>
                  <a:pt x="237" y="987"/>
                </a:lnTo>
                <a:lnTo>
                  <a:pt x="239" y="989"/>
                </a:lnTo>
                <a:lnTo>
                  <a:pt x="239" y="990"/>
                </a:lnTo>
                <a:lnTo>
                  <a:pt x="239" y="989"/>
                </a:lnTo>
                <a:lnTo>
                  <a:pt x="239" y="988"/>
                </a:lnTo>
                <a:lnTo>
                  <a:pt x="239" y="986"/>
                </a:lnTo>
                <a:lnTo>
                  <a:pt x="239" y="983"/>
                </a:lnTo>
                <a:lnTo>
                  <a:pt x="239" y="980"/>
                </a:lnTo>
                <a:lnTo>
                  <a:pt x="239" y="977"/>
                </a:lnTo>
                <a:lnTo>
                  <a:pt x="239" y="973"/>
                </a:lnTo>
                <a:lnTo>
                  <a:pt x="239" y="968"/>
                </a:lnTo>
                <a:lnTo>
                  <a:pt x="239" y="963"/>
                </a:lnTo>
                <a:lnTo>
                  <a:pt x="239" y="957"/>
                </a:lnTo>
                <a:lnTo>
                  <a:pt x="239" y="951"/>
                </a:lnTo>
                <a:lnTo>
                  <a:pt x="239" y="944"/>
                </a:lnTo>
                <a:lnTo>
                  <a:pt x="239" y="937"/>
                </a:lnTo>
                <a:lnTo>
                  <a:pt x="239" y="929"/>
                </a:lnTo>
                <a:lnTo>
                  <a:pt x="239" y="920"/>
                </a:lnTo>
                <a:lnTo>
                  <a:pt x="239" y="912"/>
                </a:lnTo>
                <a:lnTo>
                  <a:pt x="239" y="904"/>
                </a:lnTo>
                <a:lnTo>
                  <a:pt x="239" y="897"/>
                </a:lnTo>
                <a:lnTo>
                  <a:pt x="239" y="890"/>
                </a:lnTo>
                <a:lnTo>
                  <a:pt x="239" y="883"/>
                </a:lnTo>
                <a:lnTo>
                  <a:pt x="239" y="878"/>
                </a:lnTo>
                <a:lnTo>
                  <a:pt x="239" y="873"/>
                </a:lnTo>
                <a:lnTo>
                  <a:pt x="239" y="868"/>
                </a:lnTo>
                <a:lnTo>
                  <a:pt x="239" y="864"/>
                </a:lnTo>
                <a:lnTo>
                  <a:pt x="239" y="860"/>
                </a:lnTo>
                <a:lnTo>
                  <a:pt x="239" y="857"/>
                </a:lnTo>
                <a:lnTo>
                  <a:pt x="239" y="855"/>
                </a:lnTo>
                <a:lnTo>
                  <a:pt x="239" y="853"/>
                </a:lnTo>
                <a:lnTo>
                  <a:pt x="239" y="852"/>
                </a:lnTo>
                <a:lnTo>
                  <a:pt x="239" y="851"/>
                </a:lnTo>
                <a:lnTo>
                  <a:pt x="239" y="850"/>
                </a:lnTo>
                <a:lnTo>
                  <a:pt x="241" y="850"/>
                </a:lnTo>
                <a:lnTo>
                  <a:pt x="242" y="850"/>
                </a:lnTo>
                <a:lnTo>
                  <a:pt x="245" y="850"/>
                </a:lnTo>
                <a:lnTo>
                  <a:pt x="248" y="850"/>
                </a:lnTo>
                <a:lnTo>
                  <a:pt x="253" y="850"/>
                </a:lnTo>
                <a:lnTo>
                  <a:pt x="257" y="850"/>
                </a:lnTo>
                <a:lnTo>
                  <a:pt x="263" y="849"/>
                </a:lnTo>
                <a:lnTo>
                  <a:pt x="270" y="849"/>
                </a:lnTo>
                <a:lnTo>
                  <a:pt x="277" y="849"/>
                </a:lnTo>
                <a:lnTo>
                  <a:pt x="285" y="848"/>
                </a:lnTo>
                <a:lnTo>
                  <a:pt x="293" y="848"/>
                </a:lnTo>
                <a:lnTo>
                  <a:pt x="303" y="847"/>
                </a:lnTo>
                <a:lnTo>
                  <a:pt x="313" y="847"/>
                </a:lnTo>
                <a:lnTo>
                  <a:pt x="324" y="846"/>
                </a:lnTo>
                <a:lnTo>
                  <a:pt x="336" y="846"/>
                </a:lnTo>
                <a:lnTo>
                  <a:pt x="348" y="845"/>
                </a:lnTo>
                <a:lnTo>
                  <a:pt x="360" y="844"/>
                </a:lnTo>
                <a:lnTo>
                  <a:pt x="373" y="842"/>
                </a:lnTo>
                <a:lnTo>
                  <a:pt x="387" y="840"/>
                </a:lnTo>
                <a:lnTo>
                  <a:pt x="401" y="838"/>
                </a:lnTo>
                <a:lnTo>
                  <a:pt x="415" y="835"/>
                </a:lnTo>
                <a:lnTo>
                  <a:pt x="429" y="832"/>
                </a:lnTo>
                <a:lnTo>
                  <a:pt x="444" y="829"/>
                </a:lnTo>
                <a:lnTo>
                  <a:pt x="459" y="825"/>
                </a:lnTo>
                <a:lnTo>
                  <a:pt x="475" y="821"/>
                </a:lnTo>
                <a:lnTo>
                  <a:pt x="491" y="817"/>
                </a:lnTo>
                <a:lnTo>
                  <a:pt x="508" y="812"/>
                </a:lnTo>
                <a:lnTo>
                  <a:pt x="524" y="806"/>
                </a:lnTo>
                <a:lnTo>
                  <a:pt x="542" y="801"/>
                </a:lnTo>
                <a:lnTo>
                  <a:pt x="559" y="795"/>
                </a:lnTo>
                <a:lnTo>
                  <a:pt x="577" y="788"/>
                </a:lnTo>
                <a:lnTo>
                  <a:pt x="595" y="782"/>
                </a:lnTo>
                <a:lnTo>
                  <a:pt x="613" y="775"/>
                </a:lnTo>
                <a:lnTo>
                  <a:pt x="630" y="768"/>
                </a:lnTo>
                <a:lnTo>
                  <a:pt x="647" y="760"/>
                </a:lnTo>
                <a:lnTo>
                  <a:pt x="664" y="753"/>
                </a:lnTo>
                <a:lnTo>
                  <a:pt x="680" y="745"/>
                </a:lnTo>
                <a:lnTo>
                  <a:pt x="696" y="737"/>
                </a:lnTo>
                <a:lnTo>
                  <a:pt x="712" y="729"/>
                </a:lnTo>
                <a:lnTo>
                  <a:pt x="728" y="720"/>
                </a:lnTo>
                <a:lnTo>
                  <a:pt x="743" y="712"/>
                </a:lnTo>
                <a:lnTo>
                  <a:pt x="758" y="703"/>
                </a:lnTo>
                <a:lnTo>
                  <a:pt x="772" y="694"/>
                </a:lnTo>
                <a:lnTo>
                  <a:pt x="786" y="685"/>
                </a:lnTo>
                <a:lnTo>
                  <a:pt x="800" y="675"/>
                </a:lnTo>
                <a:lnTo>
                  <a:pt x="813" y="665"/>
                </a:lnTo>
                <a:lnTo>
                  <a:pt x="827" y="656"/>
                </a:lnTo>
                <a:lnTo>
                  <a:pt x="840" y="645"/>
                </a:lnTo>
                <a:lnTo>
                  <a:pt x="852" y="635"/>
                </a:lnTo>
                <a:lnTo>
                  <a:pt x="865" y="625"/>
                </a:lnTo>
                <a:lnTo>
                  <a:pt x="877" y="614"/>
                </a:lnTo>
                <a:lnTo>
                  <a:pt x="889" y="604"/>
                </a:lnTo>
                <a:lnTo>
                  <a:pt x="901" y="593"/>
                </a:lnTo>
                <a:lnTo>
                  <a:pt x="912" y="582"/>
                </a:lnTo>
                <a:lnTo>
                  <a:pt x="924" y="571"/>
                </a:lnTo>
                <a:lnTo>
                  <a:pt x="935" y="560"/>
                </a:lnTo>
                <a:lnTo>
                  <a:pt x="946" y="549"/>
                </a:lnTo>
                <a:lnTo>
                  <a:pt x="957" y="538"/>
                </a:lnTo>
                <a:lnTo>
                  <a:pt x="967" y="527"/>
                </a:lnTo>
                <a:lnTo>
                  <a:pt x="978" y="515"/>
                </a:lnTo>
                <a:lnTo>
                  <a:pt x="988" y="503"/>
                </a:lnTo>
                <a:lnTo>
                  <a:pt x="998" y="492"/>
                </a:lnTo>
                <a:lnTo>
                  <a:pt x="1007" y="480"/>
                </a:lnTo>
                <a:lnTo>
                  <a:pt x="1017" y="468"/>
                </a:lnTo>
                <a:lnTo>
                  <a:pt x="1026" y="456"/>
                </a:lnTo>
                <a:lnTo>
                  <a:pt x="1035" y="443"/>
                </a:lnTo>
                <a:lnTo>
                  <a:pt x="1044" y="431"/>
                </a:lnTo>
                <a:lnTo>
                  <a:pt x="1052" y="418"/>
                </a:lnTo>
                <a:lnTo>
                  <a:pt x="1061" y="406"/>
                </a:lnTo>
                <a:lnTo>
                  <a:pt x="1069" y="393"/>
                </a:lnTo>
                <a:lnTo>
                  <a:pt x="1077" y="380"/>
                </a:lnTo>
                <a:lnTo>
                  <a:pt x="1084" y="367"/>
                </a:lnTo>
                <a:lnTo>
                  <a:pt x="1092" y="353"/>
                </a:lnTo>
                <a:lnTo>
                  <a:pt x="1099" y="340"/>
                </a:lnTo>
                <a:lnTo>
                  <a:pt x="1106" y="326"/>
                </a:lnTo>
                <a:lnTo>
                  <a:pt x="1113" y="313"/>
                </a:lnTo>
                <a:lnTo>
                  <a:pt x="1120" y="299"/>
                </a:lnTo>
                <a:lnTo>
                  <a:pt x="1126" y="285"/>
                </a:lnTo>
                <a:lnTo>
                  <a:pt x="1132" y="271"/>
                </a:lnTo>
                <a:lnTo>
                  <a:pt x="1138" y="256"/>
                </a:lnTo>
                <a:lnTo>
                  <a:pt x="1144" y="243"/>
                </a:lnTo>
                <a:lnTo>
                  <a:pt x="1149" y="229"/>
                </a:lnTo>
                <a:lnTo>
                  <a:pt x="1154" y="216"/>
                </a:lnTo>
                <a:lnTo>
                  <a:pt x="1159" y="204"/>
                </a:lnTo>
                <a:lnTo>
                  <a:pt x="1164" y="192"/>
                </a:lnTo>
                <a:lnTo>
                  <a:pt x="1168" y="180"/>
                </a:lnTo>
                <a:lnTo>
                  <a:pt x="1172" y="168"/>
                </a:lnTo>
                <a:lnTo>
                  <a:pt x="1176" y="157"/>
                </a:lnTo>
                <a:lnTo>
                  <a:pt x="1179" y="146"/>
                </a:lnTo>
                <a:lnTo>
                  <a:pt x="1182" y="135"/>
                </a:lnTo>
                <a:lnTo>
                  <a:pt x="1185" y="125"/>
                </a:lnTo>
                <a:lnTo>
                  <a:pt x="1188" y="115"/>
                </a:lnTo>
                <a:lnTo>
                  <a:pt x="1190" y="106"/>
                </a:lnTo>
                <a:lnTo>
                  <a:pt x="1192" y="97"/>
                </a:lnTo>
                <a:lnTo>
                  <a:pt x="1194" y="88"/>
                </a:lnTo>
                <a:lnTo>
                  <a:pt x="1195" y="80"/>
                </a:lnTo>
                <a:lnTo>
                  <a:pt x="1196" y="72"/>
                </a:lnTo>
                <a:lnTo>
                  <a:pt x="1198" y="65"/>
                </a:lnTo>
                <a:lnTo>
                  <a:pt x="1199" y="58"/>
                </a:lnTo>
                <a:lnTo>
                  <a:pt x="1200" y="52"/>
                </a:lnTo>
                <a:lnTo>
                  <a:pt x="1201" y="46"/>
                </a:lnTo>
                <a:lnTo>
                  <a:pt x="1202" y="41"/>
                </a:lnTo>
                <a:lnTo>
                  <a:pt x="1203" y="36"/>
                </a:lnTo>
                <a:lnTo>
                  <a:pt x="1204" y="32"/>
                </a:lnTo>
                <a:lnTo>
                  <a:pt x="1204" y="29"/>
                </a:lnTo>
                <a:lnTo>
                  <a:pt x="1205" y="26"/>
                </a:lnTo>
                <a:lnTo>
                  <a:pt x="1205" y="24"/>
                </a:lnTo>
                <a:lnTo>
                  <a:pt x="1206" y="22"/>
                </a:lnTo>
                <a:lnTo>
                  <a:pt x="1206" y="20"/>
                </a:lnTo>
                <a:lnTo>
                  <a:pt x="1206" y="19"/>
                </a:lnTo>
                <a:lnTo>
                  <a:pt x="1205" y="20"/>
                </a:lnTo>
                <a:lnTo>
                  <a:pt x="1204" y="20"/>
                </a:lnTo>
                <a:lnTo>
                  <a:pt x="1201" y="22"/>
                </a:lnTo>
                <a:lnTo>
                  <a:pt x="1198" y="24"/>
                </a:lnTo>
                <a:lnTo>
                  <a:pt x="1193" y="27"/>
                </a:lnTo>
                <a:lnTo>
                  <a:pt x="1187" y="30"/>
                </a:lnTo>
                <a:lnTo>
                  <a:pt x="1181" y="34"/>
                </a:lnTo>
                <a:lnTo>
                  <a:pt x="1173" y="38"/>
                </a:lnTo>
                <a:lnTo>
                  <a:pt x="1164" y="43"/>
                </a:lnTo>
                <a:lnTo>
                  <a:pt x="1154" y="49"/>
                </a:lnTo>
                <a:lnTo>
                  <a:pt x="1144" y="55"/>
                </a:lnTo>
                <a:lnTo>
                  <a:pt x="1132" y="62"/>
                </a:lnTo>
                <a:lnTo>
                  <a:pt x="1119" y="70"/>
                </a:lnTo>
                <a:lnTo>
                  <a:pt x="1105" y="78"/>
                </a:lnTo>
                <a:lnTo>
                  <a:pt x="1090" y="86"/>
                </a:lnTo>
                <a:lnTo>
                  <a:pt x="1074" y="96"/>
                </a:lnTo>
                <a:lnTo>
                  <a:pt x="1058" y="105"/>
                </a:lnTo>
                <a:lnTo>
                  <a:pt x="1043" y="114"/>
                </a:lnTo>
                <a:lnTo>
                  <a:pt x="1029" y="122"/>
                </a:lnTo>
                <a:lnTo>
                  <a:pt x="1016" y="129"/>
                </a:lnTo>
                <a:lnTo>
                  <a:pt x="1005" y="136"/>
                </a:lnTo>
                <a:lnTo>
                  <a:pt x="994" y="142"/>
                </a:lnTo>
                <a:lnTo>
                  <a:pt x="984" y="148"/>
                </a:lnTo>
                <a:lnTo>
                  <a:pt x="975" y="153"/>
                </a:lnTo>
                <a:lnTo>
                  <a:pt x="967" y="157"/>
                </a:lnTo>
                <a:lnTo>
                  <a:pt x="961" y="161"/>
                </a:lnTo>
                <a:lnTo>
                  <a:pt x="955" y="165"/>
                </a:lnTo>
                <a:lnTo>
                  <a:pt x="950" y="167"/>
                </a:lnTo>
                <a:lnTo>
                  <a:pt x="947" y="169"/>
                </a:lnTo>
                <a:lnTo>
                  <a:pt x="944" y="171"/>
                </a:lnTo>
                <a:lnTo>
                  <a:pt x="943" y="172"/>
                </a:lnTo>
                <a:lnTo>
                  <a:pt x="942" y="172"/>
                </a:lnTo>
                <a:lnTo>
                  <a:pt x="940" y="171"/>
                </a:lnTo>
                <a:lnTo>
                  <a:pt x="937" y="169"/>
                </a:lnTo>
                <a:lnTo>
                  <a:pt x="933" y="167"/>
                </a:lnTo>
                <a:lnTo>
                  <a:pt x="928" y="164"/>
                </a:lnTo>
                <a:lnTo>
                  <a:pt x="921" y="160"/>
                </a:lnTo>
                <a:lnTo>
                  <a:pt x="914" y="156"/>
                </a:lnTo>
                <a:lnTo>
                  <a:pt x="905" y="151"/>
                </a:lnTo>
                <a:lnTo>
                  <a:pt x="895" y="145"/>
                </a:lnTo>
                <a:lnTo>
                  <a:pt x="884" y="138"/>
                </a:lnTo>
                <a:lnTo>
                  <a:pt x="872" y="131"/>
                </a:lnTo>
                <a:lnTo>
                  <a:pt x="859" y="124"/>
                </a:lnTo>
                <a:lnTo>
                  <a:pt x="844" y="115"/>
                </a:lnTo>
                <a:lnTo>
                  <a:pt x="829" y="106"/>
                </a:lnTo>
                <a:lnTo>
                  <a:pt x="812" y="97"/>
                </a:lnTo>
                <a:lnTo>
                  <a:pt x="794" y="86"/>
                </a:lnTo>
                <a:lnTo>
                  <a:pt x="776" y="76"/>
                </a:lnTo>
                <a:lnTo>
                  <a:pt x="759" y="66"/>
                </a:lnTo>
                <a:lnTo>
                  <a:pt x="744" y="57"/>
                </a:lnTo>
                <a:lnTo>
                  <a:pt x="729" y="48"/>
                </a:lnTo>
                <a:lnTo>
                  <a:pt x="716" y="41"/>
                </a:lnTo>
                <a:lnTo>
                  <a:pt x="704" y="34"/>
                </a:lnTo>
                <a:lnTo>
                  <a:pt x="693" y="27"/>
                </a:lnTo>
                <a:lnTo>
                  <a:pt x="683" y="22"/>
                </a:lnTo>
                <a:lnTo>
                  <a:pt x="674" y="17"/>
                </a:lnTo>
                <a:lnTo>
                  <a:pt x="667" y="12"/>
                </a:lnTo>
                <a:lnTo>
                  <a:pt x="660" y="9"/>
                </a:lnTo>
                <a:lnTo>
                  <a:pt x="655" y="5"/>
                </a:lnTo>
                <a:lnTo>
                  <a:pt x="651" y="3"/>
                </a:lnTo>
                <a:lnTo>
                  <a:pt x="648" y="1"/>
                </a:lnTo>
                <a:lnTo>
                  <a:pt x="647" y="0"/>
                </a:lnTo>
                <a:lnTo>
                  <a:pt x="646" y="0"/>
                </a:lnTo>
                <a:lnTo>
                  <a:pt x="646" y="1"/>
                </a:lnTo>
                <a:lnTo>
                  <a:pt x="645" y="2"/>
                </a:lnTo>
                <a:lnTo>
                  <a:pt x="645" y="3"/>
                </a:lnTo>
                <a:lnTo>
                  <a:pt x="644" y="5"/>
                </a:lnTo>
                <a:lnTo>
                  <a:pt x="643" y="7"/>
                </a:lnTo>
                <a:lnTo>
                  <a:pt x="642" y="10"/>
                </a:lnTo>
                <a:lnTo>
                  <a:pt x="641" y="13"/>
                </a:lnTo>
                <a:lnTo>
                  <a:pt x="640" y="17"/>
                </a:lnTo>
                <a:lnTo>
                  <a:pt x="639" y="21"/>
                </a:lnTo>
                <a:lnTo>
                  <a:pt x="637" y="25"/>
                </a:lnTo>
                <a:lnTo>
                  <a:pt x="635" y="30"/>
                </a:lnTo>
                <a:lnTo>
                  <a:pt x="633" y="35"/>
                </a:lnTo>
                <a:lnTo>
                  <a:pt x="631" y="40"/>
                </a:lnTo>
                <a:lnTo>
                  <a:pt x="629" y="46"/>
                </a:lnTo>
                <a:lnTo>
                  <a:pt x="627" y="53"/>
                </a:lnTo>
                <a:lnTo>
                  <a:pt x="624" y="59"/>
                </a:lnTo>
                <a:lnTo>
                  <a:pt x="622" y="66"/>
                </a:lnTo>
                <a:lnTo>
                  <a:pt x="619" y="72"/>
                </a:lnTo>
                <a:lnTo>
                  <a:pt x="615" y="79"/>
                </a:lnTo>
                <a:lnTo>
                  <a:pt x="612" y="86"/>
                </a:lnTo>
                <a:lnTo>
                  <a:pt x="608" y="92"/>
                </a:lnTo>
                <a:lnTo>
                  <a:pt x="604" y="99"/>
                </a:lnTo>
                <a:lnTo>
                  <a:pt x="600" y="106"/>
                </a:lnTo>
                <a:lnTo>
                  <a:pt x="595" y="113"/>
                </a:lnTo>
                <a:lnTo>
                  <a:pt x="590" y="119"/>
                </a:lnTo>
                <a:lnTo>
                  <a:pt x="585" y="126"/>
                </a:lnTo>
                <a:lnTo>
                  <a:pt x="580" y="133"/>
                </a:lnTo>
                <a:lnTo>
                  <a:pt x="574" y="140"/>
                </a:lnTo>
                <a:lnTo>
                  <a:pt x="569" y="147"/>
                </a:lnTo>
                <a:lnTo>
                  <a:pt x="563" y="154"/>
                </a:lnTo>
                <a:lnTo>
                  <a:pt x="556" y="161"/>
                </a:lnTo>
                <a:lnTo>
                  <a:pt x="550" y="167"/>
                </a:lnTo>
                <a:lnTo>
                  <a:pt x="543" y="174"/>
                </a:lnTo>
                <a:lnTo>
                  <a:pt x="536" y="181"/>
                </a:lnTo>
                <a:lnTo>
                  <a:pt x="529" y="187"/>
                </a:lnTo>
                <a:lnTo>
                  <a:pt x="522" y="193"/>
                </a:lnTo>
                <a:lnTo>
                  <a:pt x="514" y="200"/>
                </a:lnTo>
                <a:lnTo>
                  <a:pt x="507" y="206"/>
                </a:lnTo>
                <a:lnTo>
                  <a:pt x="499" y="212"/>
                </a:lnTo>
                <a:lnTo>
                  <a:pt x="491" y="217"/>
                </a:lnTo>
                <a:lnTo>
                  <a:pt x="483" y="223"/>
                </a:lnTo>
                <a:lnTo>
                  <a:pt x="474" y="228"/>
                </a:lnTo>
                <a:lnTo>
                  <a:pt x="466" y="234"/>
                </a:lnTo>
                <a:lnTo>
                  <a:pt x="457" y="239"/>
                </a:lnTo>
                <a:lnTo>
                  <a:pt x="448" y="244"/>
                </a:lnTo>
                <a:lnTo>
                  <a:pt x="439" y="249"/>
                </a:lnTo>
                <a:lnTo>
                  <a:pt x="430" y="253"/>
                </a:lnTo>
                <a:lnTo>
                  <a:pt x="421" y="258"/>
                </a:lnTo>
                <a:lnTo>
                  <a:pt x="412" y="262"/>
                </a:lnTo>
                <a:lnTo>
                  <a:pt x="403" y="266"/>
                </a:lnTo>
                <a:lnTo>
                  <a:pt x="394" y="270"/>
                </a:lnTo>
                <a:lnTo>
                  <a:pt x="385" y="273"/>
                </a:lnTo>
                <a:lnTo>
                  <a:pt x="376" y="277"/>
                </a:lnTo>
                <a:lnTo>
                  <a:pt x="368" y="280"/>
                </a:lnTo>
                <a:lnTo>
                  <a:pt x="360" y="282"/>
                </a:lnTo>
                <a:lnTo>
                  <a:pt x="351" y="285"/>
                </a:lnTo>
                <a:lnTo>
                  <a:pt x="343" y="287"/>
                </a:lnTo>
                <a:lnTo>
                  <a:pt x="335" y="289"/>
                </a:lnTo>
                <a:lnTo>
                  <a:pt x="327" y="291"/>
                </a:lnTo>
                <a:lnTo>
                  <a:pt x="320" y="292"/>
                </a:lnTo>
                <a:lnTo>
                  <a:pt x="312" y="294"/>
                </a:lnTo>
                <a:lnTo>
                  <a:pt x="305" y="295"/>
                </a:lnTo>
                <a:lnTo>
                  <a:pt x="297" y="295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4" name="Freeform 5"/>
          <p:cNvSpPr>
            <a:spLocks noChangeAspect="1"/>
          </p:cNvSpPr>
          <p:nvPr/>
        </p:nvSpPr>
        <p:spPr bwMode="auto">
          <a:xfrm>
            <a:off x="2469818" y="3050648"/>
            <a:ext cx="1855788" cy="2268537"/>
          </a:xfrm>
          <a:custGeom>
            <a:avLst/>
            <a:gdLst>
              <a:gd name="T0" fmla="*/ 2147483647 w 989"/>
              <a:gd name="T1" fmla="*/ 961172781 h 1209"/>
              <a:gd name="T2" fmla="*/ 2147483647 w 989"/>
              <a:gd name="T3" fmla="*/ 866111925 h 1209"/>
              <a:gd name="T4" fmla="*/ 2147483647 w 989"/>
              <a:gd name="T5" fmla="*/ 841465753 h 1209"/>
              <a:gd name="T6" fmla="*/ 2147483647 w 989"/>
              <a:gd name="T7" fmla="*/ 841465753 h 1209"/>
              <a:gd name="T8" fmla="*/ 2147483647 w 989"/>
              <a:gd name="T9" fmla="*/ 841465753 h 1209"/>
              <a:gd name="T10" fmla="*/ 2147483647 w 989"/>
              <a:gd name="T11" fmla="*/ 841465753 h 1209"/>
              <a:gd name="T12" fmla="*/ 2147483647 w 989"/>
              <a:gd name="T13" fmla="*/ 841465753 h 1209"/>
              <a:gd name="T14" fmla="*/ 2147483647 w 989"/>
              <a:gd name="T15" fmla="*/ 841465753 h 1209"/>
              <a:gd name="T16" fmla="*/ 2147483647 w 989"/>
              <a:gd name="T17" fmla="*/ 799217318 h 1209"/>
              <a:gd name="T18" fmla="*/ 2147483647 w 989"/>
              <a:gd name="T19" fmla="*/ 644303886 h 1209"/>
              <a:gd name="T20" fmla="*/ 2084423757 w 989"/>
              <a:gd name="T21" fmla="*/ 369681433 h 1209"/>
              <a:gd name="T22" fmla="*/ 1679510712 w 989"/>
              <a:gd name="T23" fmla="*/ 133789273 h 1209"/>
              <a:gd name="T24" fmla="*/ 1478813575 w 989"/>
              <a:gd name="T25" fmla="*/ 14082190 h 1209"/>
              <a:gd name="T26" fmla="*/ 1429519805 w 989"/>
              <a:gd name="T27" fmla="*/ 14082190 h 1209"/>
              <a:gd name="T28" fmla="*/ 1221782309 w 989"/>
              <a:gd name="T29" fmla="*/ 133789273 h 1209"/>
              <a:gd name="T30" fmla="*/ 813347443 w 989"/>
              <a:gd name="T31" fmla="*/ 369681433 h 1209"/>
              <a:gd name="T32" fmla="*/ 345056509 w 989"/>
              <a:gd name="T33" fmla="*/ 644303886 h 1209"/>
              <a:gd name="T34" fmla="*/ 70420505 w 989"/>
              <a:gd name="T35" fmla="*/ 799217318 h 1209"/>
              <a:gd name="T36" fmla="*/ 0 w 989"/>
              <a:gd name="T37" fmla="*/ 841465753 h 1209"/>
              <a:gd name="T38" fmla="*/ 45773605 w 989"/>
              <a:gd name="T39" fmla="*/ 841465753 h 1209"/>
              <a:gd name="T40" fmla="*/ 158443784 w 989"/>
              <a:gd name="T41" fmla="*/ 841465753 h 1209"/>
              <a:gd name="T42" fmla="*/ 323929803 w 989"/>
              <a:gd name="T43" fmla="*/ 841465753 h 1209"/>
              <a:gd name="T44" fmla="*/ 436601814 w 989"/>
              <a:gd name="T45" fmla="*/ 841465753 h 1209"/>
              <a:gd name="T46" fmla="*/ 482375405 w 989"/>
              <a:gd name="T47" fmla="*/ 841465753 h 1209"/>
              <a:gd name="T48" fmla="*/ 485895584 w 989"/>
              <a:gd name="T49" fmla="*/ 873153956 h 1209"/>
              <a:gd name="T50" fmla="*/ 492937937 w 989"/>
              <a:gd name="T51" fmla="*/ 989339265 h 1209"/>
              <a:gd name="T52" fmla="*/ 503500351 w 989"/>
              <a:gd name="T53" fmla="*/ 1190024962 h 1209"/>
              <a:gd name="T54" fmla="*/ 542231707 w 989"/>
              <a:gd name="T55" fmla="*/ 1461123468 h 1209"/>
              <a:gd name="T56" fmla="*/ 623214597 w 989"/>
              <a:gd name="T57" fmla="*/ 1788556348 h 1209"/>
              <a:gd name="T58" fmla="*/ 749969202 w 989"/>
              <a:gd name="T59" fmla="*/ 2147483647 h 1209"/>
              <a:gd name="T60" fmla="*/ 940103924 w 989"/>
              <a:gd name="T61" fmla="*/ 2147483647 h 1209"/>
              <a:gd name="T62" fmla="*/ 1200655604 w 989"/>
              <a:gd name="T63" fmla="*/ 2147483647 h 1209"/>
              <a:gd name="T64" fmla="*/ 1517544931 w 989"/>
              <a:gd name="T65" fmla="*/ 2147483647 h 1209"/>
              <a:gd name="T66" fmla="*/ 1869643557 w 989"/>
              <a:gd name="T67" fmla="*/ 2147483647 h 1209"/>
              <a:gd name="T68" fmla="*/ 2147483647 w 989"/>
              <a:gd name="T69" fmla="*/ 2147483647 h 1209"/>
              <a:gd name="T70" fmla="*/ 2147483647 w 989"/>
              <a:gd name="T71" fmla="*/ 2147483647 h 1209"/>
              <a:gd name="T72" fmla="*/ 2147483647 w 989"/>
              <a:gd name="T73" fmla="*/ 2147483647 h 1209"/>
              <a:gd name="T74" fmla="*/ 2147483647 w 989"/>
              <a:gd name="T75" fmla="*/ 2147483647 h 1209"/>
              <a:gd name="T76" fmla="*/ 2147483647 w 989"/>
              <a:gd name="T77" fmla="*/ 2147483647 h 1209"/>
              <a:gd name="T78" fmla="*/ 2147483647 w 989"/>
              <a:gd name="T79" fmla="*/ 2147483647 h 1209"/>
              <a:gd name="T80" fmla="*/ 2147483647 w 989"/>
              <a:gd name="T81" fmla="*/ 2147483647 h 1209"/>
              <a:gd name="T82" fmla="*/ 2147483647 w 989"/>
              <a:gd name="T83" fmla="*/ 2147483647 h 1209"/>
              <a:gd name="T84" fmla="*/ 2147483647 w 989"/>
              <a:gd name="T85" fmla="*/ 2147483647 h 1209"/>
              <a:gd name="T86" fmla="*/ 2147483647 w 989"/>
              <a:gd name="T87" fmla="*/ 2147483647 h 1209"/>
              <a:gd name="T88" fmla="*/ 2147483647 w 989"/>
              <a:gd name="T89" fmla="*/ 2147483647 h 1209"/>
              <a:gd name="T90" fmla="*/ 2147483647 w 989"/>
              <a:gd name="T91" fmla="*/ 2147483647 h 1209"/>
              <a:gd name="T92" fmla="*/ 2147483647 w 989"/>
              <a:gd name="T93" fmla="*/ 2147483647 h 1209"/>
              <a:gd name="T94" fmla="*/ 2147483647 w 989"/>
              <a:gd name="T95" fmla="*/ 2147483647 h 1209"/>
              <a:gd name="T96" fmla="*/ 2147483647 w 989"/>
              <a:gd name="T97" fmla="*/ 2147483647 h 1209"/>
              <a:gd name="T98" fmla="*/ 2147483647 w 989"/>
              <a:gd name="T99" fmla="*/ 2147483647 h 1209"/>
              <a:gd name="T100" fmla="*/ 2147483647 w 989"/>
              <a:gd name="T101" fmla="*/ 2147483647 h 1209"/>
              <a:gd name="T102" fmla="*/ 2147483647 w 989"/>
              <a:gd name="T103" fmla="*/ 2147483647 h 1209"/>
              <a:gd name="T104" fmla="*/ 2147483647 w 989"/>
              <a:gd name="T105" fmla="*/ 2147483647 h 1209"/>
              <a:gd name="T106" fmla="*/ 2147483647 w 989"/>
              <a:gd name="T107" fmla="*/ 2147483647 h 1209"/>
              <a:gd name="T108" fmla="*/ 2147483647 w 989"/>
              <a:gd name="T109" fmla="*/ 2056137122 h 1209"/>
              <a:gd name="T110" fmla="*/ 2147483647 w 989"/>
              <a:gd name="T111" fmla="*/ 1936429625 h 1209"/>
              <a:gd name="T112" fmla="*/ 2147483647 w 989"/>
              <a:gd name="T113" fmla="*/ 1802640411 h 1209"/>
              <a:gd name="T114" fmla="*/ 2147483647 w 989"/>
              <a:gd name="T115" fmla="*/ 1661809166 h 1209"/>
              <a:gd name="T116" fmla="*/ 2147483647 w 989"/>
              <a:gd name="T117" fmla="*/ 1520977920 h 1209"/>
              <a:gd name="T118" fmla="*/ 2147483647 w 989"/>
              <a:gd name="T119" fmla="*/ 1366062612 h 1209"/>
              <a:gd name="T120" fmla="*/ 2147483647 w 989"/>
              <a:gd name="T121" fmla="*/ 1190024962 h 12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89"/>
              <a:gd name="T184" fmla="*/ 0 h 1209"/>
              <a:gd name="T185" fmla="*/ 989 w 989"/>
              <a:gd name="T186" fmla="*/ 1209 h 120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89" h="1209">
                <a:moveTo>
                  <a:pt x="697" y="312"/>
                </a:moveTo>
                <a:lnTo>
                  <a:pt x="696" y="303"/>
                </a:lnTo>
                <a:lnTo>
                  <a:pt x="695" y="295"/>
                </a:lnTo>
                <a:lnTo>
                  <a:pt x="694" y="287"/>
                </a:lnTo>
                <a:lnTo>
                  <a:pt x="693" y="280"/>
                </a:lnTo>
                <a:lnTo>
                  <a:pt x="692" y="273"/>
                </a:lnTo>
                <a:lnTo>
                  <a:pt x="691" y="267"/>
                </a:lnTo>
                <a:lnTo>
                  <a:pt x="691" y="262"/>
                </a:lnTo>
                <a:lnTo>
                  <a:pt x="690" y="257"/>
                </a:lnTo>
                <a:lnTo>
                  <a:pt x="690" y="253"/>
                </a:lnTo>
                <a:lnTo>
                  <a:pt x="689" y="249"/>
                </a:lnTo>
                <a:lnTo>
                  <a:pt x="689" y="246"/>
                </a:lnTo>
                <a:lnTo>
                  <a:pt x="688" y="244"/>
                </a:lnTo>
                <a:lnTo>
                  <a:pt x="688" y="242"/>
                </a:lnTo>
                <a:lnTo>
                  <a:pt x="688" y="240"/>
                </a:lnTo>
                <a:lnTo>
                  <a:pt x="688" y="239"/>
                </a:lnTo>
                <a:lnTo>
                  <a:pt x="689" y="239"/>
                </a:lnTo>
                <a:lnTo>
                  <a:pt x="690" y="239"/>
                </a:lnTo>
                <a:lnTo>
                  <a:pt x="692" y="239"/>
                </a:lnTo>
                <a:lnTo>
                  <a:pt x="694" y="239"/>
                </a:lnTo>
                <a:lnTo>
                  <a:pt x="697" y="239"/>
                </a:lnTo>
                <a:lnTo>
                  <a:pt x="701" y="239"/>
                </a:lnTo>
                <a:lnTo>
                  <a:pt x="705" y="239"/>
                </a:lnTo>
                <a:lnTo>
                  <a:pt x="709" y="239"/>
                </a:lnTo>
                <a:lnTo>
                  <a:pt x="714" y="239"/>
                </a:lnTo>
                <a:lnTo>
                  <a:pt x="720" y="239"/>
                </a:lnTo>
                <a:lnTo>
                  <a:pt x="726" y="239"/>
                </a:lnTo>
                <a:lnTo>
                  <a:pt x="732" y="239"/>
                </a:lnTo>
                <a:lnTo>
                  <a:pt x="739" y="239"/>
                </a:lnTo>
                <a:lnTo>
                  <a:pt x="747" y="239"/>
                </a:lnTo>
                <a:lnTo>
                  <a:pt x="755" y="239"/>
                </a:lnTo>
                <a:lnTo>
                  <a:pt x="763" y="239"/>
                </a:lnTo>
                <a:lnTo>
                  <a:pt x="771" y="239"/>
                </a:lnTo>
                <a:lnTo>
                  <a:pt x="778" y="239"/>
                </a:lnTo>
                <a:lnTo>
                  <a:pt x="784" y="239"/>
                </a:lnTo>
                <a:lnTo>
                  <a:pt x="790" y="239"/>
                </a:lnTo>
                <a:lnTo>
                  <a:pt x="796" y="239"/>
                </a:lnTo>
                <a:lnTo>
                  <a:pt x="801" y="239"/>
                </a:lnTo>
                <a:lnTo>
                  <a:pt x="805" y="239"/>
                </a:lnTo>
                <a:lnTo>
                  <a:pt x="809" y="239"/>
                </a:lnTo>
                <a:lnTo>
                  <a:pt x="812" y="239"/>
                </a:lnTo>
                <a:lnTo>
                  <a:pt x="815" y="239"/>
                </a:lnTo>
                <a:lnTo>
                  <a:pt x="818" y="239"/>
                </a:lnTo>
                <a:lnTo>
                  <a:pt x="819" y="239"/>
                </a:lnTo>
                <a:lnTo>
                  <a:pt x="821" y="239"/>
                </a:lnTo>
                <a:lnTo>
                  <a:pt x="822" y="239"/>
                </a:lnTo>
                <a:lnTo>
                  <a:pt x="821" y="239"/>
                </a:lnTo>
                <a:lnTo>
                  <a:pt x="819" y="237"/>
                </a:lnTo>
                <a:lnTo>
                  <a:pt x="815" y="235"/>
                </a:lnTo>
                <a:lnTo>
                  <a:pt x="809" y="232"/>
                </a:lnTo>
                <a:lnTo>
                  <a:pt x="802" y="227"/>
                </a:lnTo>
                <a:lnTo>
                  <a:pt x="793" y="222"/>
                </a:lnTo>
                <a:lnTo>
                  <a:pt x="783" y="216"/>
                </a:lnTo>
                <a:lnTo>
                  <a:pt x="771" y="209"/>
                </a:lnTo>
                <a:lnTo>
                  <a:pt x="757" y="201"/>
                </a:lnTo>
                <a:lnTo>
                  <a:pt x="742" y="192"/>
                </a:lnTo>
                <a:lnTo>
                  <a:pt x="725" y="183"/>
                </a:lnTo>
                <a:lnTo>
                  <a:pt x="707" y="172"/>
                </a:lnTo>
                <a:lnTo>
                  <a:pt x="687" y="160"/>
                </a:lnTo>
                <a:lnTo>
                  <a:pt x="665" y="148"/>
                </a:lnTo>
                <a:lnTo>
                  <a:pt x="642" y="134"/>
                </a:lnTo>
                <a:lnTo>
                  <a:pt x="617" y="120"/>
                </a:lnTo>
                <a:lnTo>
                  <a:pt x="592" y="105"/>
                </a:lnTo>
                <a:lnTo>
                  <a:pt x="569" y="92"/>
                </a:lnTo>
                <a:lnTo>
                  <a:pt x="548" y="79"/>
                </a:lnTo>
                <a:lnTo>
                  <a:pt x="528" y="67"/>
                </a:lnTo>
                <a:lnTo>
                  <a:pt x="509" y="57"/>
                </a:lnTo>
                <a:lnTo>
                  <a:pt x="493" y="47"/>
                </a:lnTo>
                <a:lnTo>
                  <a:pt x="477" y="38"/>
                </a:lnTo>
                <a:lnTo>
                  <a:pt x="464" y="30"/>
                </a:lnTo>
                <a:lnTo>
                  <a:pt x="452" y="23"/>
                </a:lnTo>
                <a:lnTo>
                  <a:pt x="442" y="17"/>
                </a:lnTo>
                <a:lnTo>
                  <a:pt x="433" y="12"/>
                </a:lnTo>
                <a:lnTo>
                  <a:pt x="426" y="8"/>
                </a:lnTo>
                <a:lnTo>
                  <a:pt x="420" y="4"/>
                </a:lnTo>
                <a:lnTo>
                  <a:pt x="416" y="2"/>
                </a:lnTo>
                <a:lnTo>
                  <a:pt x="414" y="1"/>
                </a:lnTo>
                <a:lnTo>
                  <a:pt x="413" y="0"/>
                </a:lnTo>
                <a:lnTo>
                  <a:pt x="412" y="1"/>
                </a:lnTo>
                <a:lnTo>
                  <a:pt x="410" y="2"/>
                </a:lnTo>
                <a:lnTo>
                  <a:pt x="406" y="4"/>
                </a:lnTo>
                <a:lnTo>
                  <a:pt x="400" y="8"/>
                </a:lnTo>
                <a:lnTo>
                  <a:pt x="393" y="12"/>
                </a:lnTo>
                <a:lnTo>
                  <a:pt x="384" y="17"/>
                </a:lnTo>
                <a:lnTo>
                  <a:pt x="373" y="23"/>
                </a:lnTo>
                <a:lnTo>
                  <a:pt x="361" y="30"/>
                </a:lnTo>
                <a:lnTo>
                  <a:pt x="347" y="38"/>
                </a:lnTo>
                <a:lnTo>
                  <a:pt x="332" y="47"/>
                </a:lnTo>
                <a:lnTo>
                  <a:pt x="315" y="57"/>
                </a:lnTo>
                <a:lnTo>
                  <a:pt x="297" y="67"/>
                </a:lnTo>
                <a:lnTo>
                  <a:pt x="277" y="79"/>
                </a:lnTo>
                <a:lnTo>
                  <a:pt x="255" y="92"/>
                </a:lnTo>
                <a:lnTo>
                  <a:pt x="231" y="105"/>
                </a:lnTo>
                <a:lnTo>
                  <a:pt x="206" y="120"/>
                </a:lnTo>
                <a:lnTo>
                  <a:pt x="181" y="134"/>
                </a:lnTo>
                <a:lnTo>
                  <a:pt x="158" y="148"/>
                </a:lnTo>
                <a:lnTo>
                  <a:pt x="136" y="160"/>
                </a:lnTo>
                <a:lnTo>
                  <a:pt x="116" y="172"/>
                </a:lnTo>
                <a:lnTo>
                  <a:pt x="98" y="183"/>
                </a:lnTo>
                <a:lnTo>
                  <a:pt x="81" y="192"/>
                </a:lnTo>
                <a:lnTo>
                  <a:pt x="65" y="201"/>
                </a:lnTo>
                <a:lnTo>
                  <a:pt x="52" y="209"/>
                </a:lnTo>
                <a:lnTo>
                  <a:pt x="40" y="216"/>
                </a:lnTo>
                <a:lnTo>
                  <a:pt x="29" y="222"/>
                </a:lnTo>
                <a:lnTo>
                  <a:pt x="20" y="227"/>
                </a:lnTo>
                <a:lnTo>
                  <a:pt x="13" y="232"/>
                </a:lnTo>
                <a:lnTo>
                  <a:pt x="7" y="235"/>
                </a:lnTo>
                <a:lnTo>
                  <a:pt x="3" y="237"/>
                </a:lnTo>
                <a:lnTo>
                  <a:pt x="1" y="239"/>
                </a:lnTo>
                <a:lnTo>
                  <a:pt x="0" y="239"/>
                </a:lnTo>
                <a:lnTo>
                  <a:pt x="1" y="239"/>
                </a:lnTo>
                <a:lnTo>
                  <a:pt x="2" y="239"/>
                </a:lnTo>
                <a:lnTo>
                  <a:pt x="4" y="239"/>
                </a:lnTo>
                <a:lnTo>
                  <a:pt x="7" y="239"/>
                </a:lnTo>
                <a:lnTo>
                  <a:pt x="10" y="239"/>
                </a:lnTo>
                <a:lnTo>
                  <a:pt x="13" y="239"/>
                </a:lnTo>
                <a:lnTo>
                  <a:pt x="17" y="239"/>
                </a:lnTo>
                <a:lnTo>
                  <a:pt x="22" y="239"/>
                </a:lnTo>
                <a:lnTo>
                  <a:pt x="27" y="239"/>
                </a:lnTo>
                <a:lnTo>
                  <a:pt x="33" y="239"/>
                </a:lnTo>
                <a:lnTo>
                  <a:pt x="39" y="239"/>
                </a:lnTo>
                <a:lnTo>
                  <a:pt x="45" y="239"/>
                </a:lnTo>
                <a:lnTo>
                  <a:pt x="53" y="239"/>
                </a:lnTo>
                <a:lnTo>
                  <a:pt x="60" y="239"/>
                </a:lnTo>
                <a:lnTo>
                  <a:pt x="69" y="239"/>
                </a:lnTo>
                <a:lnTo>
                  <a:pt x="77" y="239"/>
                </a:lnTo>
                <a:lnTo>
                  <a:pt x="85" y="239"/>
                </a:lnTo>
                <a:lnTo>
                  <a:pt x="92" y="239"/>
                </a:lnTo>
                <a:lnTo>
                  <a:pt x="99" y="239"/>
                </a:lnTo>
                <a:lnTo>
                  <a:pt x="105" y="239"/>
                </a:lnTo>
                <a:lnTo>
                  <a:pt x="111" y="239"/>
                </a:lnTo>
                <a:lnTo>
                  <a:pt x="116" y="239"/>
                </a:lnTo>
                <a:lnTo>
                  <a:pt x="120" y="239"/>
                </a:lnTo>
                <a:lnTo>
                  <a:pt x="124" y="239"/>
                </a:lnTo>
                <a:lnTo>
                  <a:pt x="128" y="239"/>
                </a:lnTo>
                <a:lnTo>
                  <a:pt x="131" y="239"/>
                </a:lnTo>
                <a:lnTo>
                  <a:pt x="133" y="239"/>
                </a:lnTo>
                <a:lnTo>
                  <a:pt x="135" y="239"/>
                </a:lnTo>
                <a:lnTo>
                  <a:pt x="137" y="239"/>
                </a:lnTo>
                <a:lnTo>
                  <a:pt x="138" y="239"/>
                </a:lnTo>
                <a:lnTo>
                  <a:pt x="138" y="240"/>
                </a:lnTo>
                <a:lnTo>
                  <a:pt x="138" y="242"/>
                </a:lnTo>
                <a:lnTo>
                  <a:pt x="138" y="245"/>
                </a:lnTo>
                <a:lnTo>
                  <a:pt x="138" y="248"/>
                </a:lnTo>
                <a:lnTo>
                  <a:pt x="138" y="251"/>
                </a:lnTo>
                <a:lnTo>
                  <a:pt x="139" y="256"/>
                </a:lnTo>
                <a:lnTo>
                  <a:pt x="139" y="261"/>
                </a:lnTo>
                <a:lnTo>
                  <a:pt x="139" y="267"/>
                </a:lnTo>
                <a:lnTo>
                  <a:pt x="139" y="273"/>
                </a:lnTo>
                <a:lnTo>
                  <a:pt x="140" y="281"/>
                </a:lnTo>
                <a:lnTo>
                  <a:pt x="140" y="289"/>
                </a:lnTo>
                <a:lnTo>
                  <a:pt x="141" y="297"/>
                </a:lnTo>
                <a:lnTo>
                  <a:pt x="141" y="306"/>
                </a:lnTo>
                <a:lnTo>
                  <a:pt x="142" y="316"/>
                </a:lnTo>
                <a:lnTo>
                  <a:pt x="142" y="327"/>
                </a:lnTo>
                <a:lnTo>
                  <a:pt x="143" y="338"/>
                </a:lnTo>
                <a:lnTo>
                  <a:pt x="144" y="350"/>
                </a:lnTo>
                <a:lnTo>
                  <a:pt x="146" y="362"/>
                </a:lnTo>
                <a:lnTo>
                  <a:pt x="147" y="375"/>
                </a:lnTo>
                <a:lnTo>
                  <a:pt x="149" y="388"/>
                </a:lnTo>
                <a:lnTo>
                  <a:pt x="152" y="401"/>
                </a:lnTo>
                <a:lnTo>
                  <a:pt x="154" y="415"/>
                </a:lnTo>
                <a:lnTo>
                  <a:pt x="157" y="429"/>
                </a:lnTo>
                <a:lnTo>
                  <a:pt x="161" y="444"/>
                </a:lnTo>
                <a:lnTo>
                  <a:pt x="164" y="460"/>
                </a:lnTo>
                <a:lnTo>
                  <a:pt x="168" y="475"/>
                </a:lnTo>
                <a:lnTo>
                  <a:pt x="173" y="492"/>
                </a:lnTo>
                <a:lnTo>
                  <a:pt x="177" y="508"/>
                </a:lnTo>
                <a:lnTo>
                  <a:pt x="182" y="525"/>
                </a:lnTo>
                <a:lnTo>
                  <a:pt x="187" y="543"/>
                </a:lnTo>
                <a:lnTo>
                  <a:pt x="193" y="561"/>
                </a:lnTo>
                <a:lnTo>
                  <a:pt x="199" y="579"/>
                </a:lnTo>
                <a:lnTo>
                  <a:pt x="206" y="598"/>
                </a:lnTo>
                <a:lnTo>
                  <a:pt x="213" y="616"/>
                </a:lnTo>
                <a:lnTo>
                  <a:pt x="220" y="634"/>
                </a:lnTo>
                <a:lnTo>
                  <a:pt x="229" y="652"/>
                </a:lnTo>
                <a:lnTo>
                  <a:pt x="237" y="671"/>
                </a:lnTo>
                <a:lnTo>
                  <a:pt x="247" y="689"/>
                </a:lnTo>
                <a:lnTo>
                  <a:pt x="257" y="707"/>
                </a:lnTo>
                <a:lnTo>
                  <a:pt x="267" y="726"/>
                </a:lnTo>
                <a:lnTo>
                  <a:pt x="278" y="744"/>
                </a:lnTo>
                <a:lnTo>
                  <a:pt x="290" y="762"/>
                </a:lnTo>
                <a:lnTo>
                  <a:pt x="302" y="780"/>
                </a:lnTo>
                <a:lnTo>
                  <a:pt x="314" y="799"/>
                </a:lnTo>
                <a:lnTo>
                  <a:pt x="327" y="817"/>
                </a:lnTo>
                <a:lnTo>
                  <a:pt x="341" y="835"/>
                </a:lnTo>
                <a:lnTo>
                  <a:pt x="355" y="853"/>
                </a:lnTo>
                <a:lnTo>
                  <a:pt x="370" y="871"/>
                </a:lnTo>
                <a:lnTo>
                  <a:pt x="385" y="889"/>
                </a:lnTo>
                <a:lnTo>
                  <a:pt x="400" y="906"/>
                </a:lnTo>
                <a:lnTo>
                  <a:pt x="416" y="923"/>
                </a:lnTo>
                <a:lnTo>
                  <a:pt x="431" y="939"/>
                </a:lnTo>
                <a:lnTo>
                  <a:pt x="447" y="954"/>
                </a:lnTo>
                <a:lnTo>
                  <a:pt x="463" y="969"/>
                </a:lnTo>
                <a:lnTo>
                  <a:pt x="480" y="984"/>
                </a:lnTo>
                <a:lnTo>
                  <a:pt x="497" y="998"/>
                </a:lnTo>
                <a:lnTo>
                  <a:pt x="513" y="1011"/>
                </a:lnTo>
                <a:lnTo>
                  <a:pt x="531" y="1024"/>
                </a:lnTo>
                <a:lnTo>
                  <a:pt x="548" y="1037"/>
                </a:lnTo>
                <a:lnTo>
                  <a:pt x="566" y="1049"/>
                </a:lnTo>
                <a:lnTo>
                  <a:pt x="584" y="1060"/>
                </a:lnTo>
                <a:lnTo>
                  <a:pt x="602" y="1071"/>
                </a:lnTo>
                <a:lnTo>
                  <a:pt x="620" y="1082"/>
                </a:lnTo>
                <a:lnTo>
                  <a:pt x="638" y="1092"/>
                </a:lnTo>
                <a:lnTo>
                  <a:pt x="656" y="1101"/>
                </a:lnTo>
                <a:lnTo>
                  <a:pt x="674" y="1110"/>
                </a:lnTo>
                <a:lnTo>
                  <a:pt x="691" y="1119"/>
                </a:lnTo>
                <a:lnTo>
                  <a:pt x="708" y="1127"/>
                </a:lnTo>
                <a:lnTo>
                  <a:pt x="724" y="1135"/>
                </a:lnTo>
                <a:lnTo>
                  <a:pt x="741" y="1142"/>
                </a:lnTo>
                <a:lnTo>
                  <a:pt x="756" y="1149"/>
                </a:lnTo>
                <a:lnTo>
                  <a:pt x="772" y="1155"/>
                </a:lnTo>
                <a:lnTo>
                  <a:pt x="787" y="1161"/>
                </a:lnTo>
                <a:lnTo>
                  <a:pt x="801" y="1166"/>
                </a:lnTo>
                <a:lnTo>
                  <a:pt x="815" y="1171"/>
                </a:lnTo>
                <a:lnTo>
                  <a:pt x="829" y="1176"/>
                </a:lnTo>
                <a:lnTo>
                  <a:pt x="843" y="1180"/>
                </a:lnTo>
                <a:lnTo>
                  <a:pt x="856" y="1183"/>
                </a:lnTo>
                <a:lnTo>
                  <a:pt x="869" y="1186"/>
                </a:lnTo>
                <a:lnTo>
                  <a:pt x="881" y="1189"/>
                </a:lnTo>
                <a:lnTo>
                  <a:pt x="892" y="1191"/>
                </a:lnTo>
                <a:lnTo>
                  <a:pt x="903" y="1193"/>
                </a:lnTo>
                <a:lnTo>
                  <a:pt x="912" y="1196"/>
                </a:lnTo>
                <a:lnTo>
                  <a:pt x="921" y="1198"/>
                </a:lnTo>
                <a:lnTo>
                  <a:pt x="930" y="1199"/>
                </a:lnTo>
                <a:lnTo>
                  <a:pt x="937" y="1201"/>
                </a:lnTo>
                <a:lnTo>
                  <a:pt x="944" y="1202"/>
                </a:lnTo>
                <a:lnTo>
                  <a:pt x="950" y="1204"/>
                </a:lnTo>
                <a:lnTo>
                  <a:pt x="955" y="1205"/>
                </a:lnTo>
                <a:lnTo>
                  <a:pt x="959" y="1206"/>
                </a:lnTo>
                <a:lnTo>
                  <a:pt x="963" y="1207"/>
                </a:lnTo>
                <a:lnTo>
                  <a:pt x="965" y="1207"/>
                </a:lnTo>
                <a:lnTo>
                  <a:pt x="967" y="1208"/>
                </a:lnTo>
                <a:lnTo>
                  <a:pt x="968" y="1208"/>
                </a:lnTo>
                <a:lnTo>
                  <a:pt x="969" y="1208"/>
                </a:lnTo>
                <a:lnTo>
                  <a:pt x="969" y="1207"/>
                </a:lnTo>
                <a:lnTo>
                  <a:pt x="968" y="1206"/>
                </a:lnTo>
                <a:lnTo>
                  <a:pt x="966" y="1203"/>
                </a:lnTo>
                <a:lnTo>
                  <a:pt x="964" y="1200"/>
                </a:lnTo>
                <a:lnTo>
                  <a:pt x="961" y="1195"/>
                </a:lnTo>
                <a:lnTo>
                  <a:pt x="958" y="1189"/>
                </a:lnTo>
                <a:lnTo>
                  <a:pt x="954" y="1183"/>
                </a:lnTo>
                <a:lnTo>
                  <a:pt x="950" y="1175"/>
                </a:lnTo>
                <a:lnTo>
                  <a:pt x="945" y="1166"/>
                </a:lnTo>
                <a:lnTo>
                  <a:pt x="939" y="1156"/>
                </a:lnTo>
                <a:lnTo>
                  <a:pt x="933" y="1146"/>
                </a:lnTo>
                <a:lnTo>
                  <a:pt x="926" y="1134"/>
                </a:lnTo>
                <a:lnTo>
                  <a:pt x="918" y="1121"/>
                </a:lnTo>
                <a:lnTo>
                  <a:pt x="910" y="1107"/>
                </a:lnTo>
                <a:lnTo>
                  <a:pt x="902" y="1092"/>
                </a:lnTo>
                <a:lnTo>
                  <a:pt x="892" y="1076"/>
                </a:lnTo>
                <a:lnTo>
                  <a:pt x="883" y="1060"/>
                </a:lnTo>
                <a:lnTo>
                  <a:pt x="875" y="1045"/>
                </a:lnTo>
                <a:lnTo>
                  <a:pt x="866" y="1031"/>
                </a:lnTo>
                <a:lnTo>
                  <a:pt x="859" y="1018"/>
                </a:lnTo>
                <a:lnTo>
                  <a:pt x="852" y="1007"/>
                </a:lnTo>
                <a:lnTo>
                  <a:pt x="846" y="996"/>
                </a:lnTo>
                <a:lnTo>
                  <a:pt x="840" y="986"/>
                </a:lnTo>
                <a:lnTo>
                  <a:pt x="835" y="977"/>
                </a:lnTo>
                <a:lnTo>
                  <a:pt x="831" y="969"/>
                </a:lnTo>
                <a:lnTo>
                  <a:pt x="827" y="963"/>
                </a:lnTo>
                <a:lnTo>
                  <a:pt x="823" y="957"/>
                </a:lnTo>
                <a:lnTo>
                  <a:pt x="821" y="952"/>
                </a:lnTo>
                <a:lnTo>
                  <a:pt x="819" y="949"/>
                </a:lnTo>
                <a:lnTo>
                  <a:pt x="817" y="946"/>
                </a:lnTo>
                <a:lnTo>
                  <a:pt x="816" y="945"/>
                </a:lnTo>
                <a:lnTo>
                  <a:pt x="816" y="944"/>
                </a:lnTo>
                <a:lnTo>
                  <a:pt x="817" y="942"/>
                </a:lnTo>
                <a:lnTo>
                  <a:pt x="819" y="939"/>
                </a:lnTo>
                <a:lnTo>
                  <a:pt x="821" y="935"/>
                </a:lnTo>
                <a:lnTo>
                  <a:pt x="824" y="930"/>
                </a:lnTo>
                <a:lnTo>
                  <a:pt x="828" y="923"/>
                </a:lnTo>
                <a:lnTo>
                  <a:pt x="832" y="916"/>
                </a:lnTo>
                <a:lnTo>
                  <a:pt x="837" y="907"/>
                </a:lnTo>
                <a:lnTo>
                  <a:pt x="843" y="897"/>
                </a:lnTo>
                <a:lnTo>
                  <a:pt x="850" y="886"/>
                </a:lnTo>
                <a:lnTo>
                  <a:pt x="857" y="874"/>
                </a:lnTo>
                <a:lnTo>
                  <a:pt x="864" y="861"/>
                </a:lnTo>
                <a:lnTo>
                  <a:pt x="873" y="846"/>
                </a:lnTo>
                <a:lnTo>
                  <a:pt x="882" y="831"/>
                </a:lnTo>
                <a:lnTo>
                  <a:pt x="892" y="814"/>
                </a:lnTo>
                <a:lnTo>
                  <a:pt x="902" y="796"/>
                </a:lnTo>
                <a:lnTo>
                  <a:pt x="912" y="778"/>
                </a:lnTo>
                <a:lnTo>
                  <a:pt x="922" y="761"/>
                </a:lnTo>
                <a:lnTo>
                  <a:pt x="931" y="746"/>
                </a:lnTo>
                <a:lnTo>
                  <a:pt x="940" y="731"/>
                </a:lnTo>
                <a:lnTo>
                  <a:pt x="947" y="718"/>
                </a:lnTo>
                <a:lnTo>
                  <a:pt x="954" y="706"/>
                </a:lnTo>
                <a:lnTo>
                  <a:pt x="961" y="695"/>
                </a:lnTo>
                <a:lnTo>
                  <a:pt x="966" y="685"/>
                </a:lnTo>
                <a:lnTo>
                  <a:pt x="972" y="676"/>
                </a:lnTo>
                <a:lnTo>
                  <a:pt x="976" y="669"/>
                </a:lnTo>
                <a:lnTo>
                  <a:pt x="980" y="662"/>
                </a:lnTo>
                <a:lnTo>
                  <a:pt x="983" y="657"/>
                </a:lnTo>
                <a:lnTo>
                  <a:pt x="985" y="653"/>
                </a:lnTo>
                <a:lnTo>
                  <a:pt x="987" y="650"/>
                </a:lnTo>
                <a:lnTo>
                  <a:pt x="988" y="649"/>
                </a:lnTo>
                <a:lnTo>
                  <a:pt x="988" y="648"/>
                </a:lnTo>
                <a:lnTo>
                  <a:pt x="987" y="648"/>
                </a:lnTo>
                <a:lnTo>
                  <a:pt x="986" y="647"/>
                </a:lnTo>
                <a:lnTo>
                  <a:pt x="984" y="646"/>
                </a:lnTo>
                <a:lnTo>
                  <a:pt x="982" y="645"/>
                </a:lnTo>
                <a:lnTo>
                  <a:pt x="979" y="644"/>
                </a:lnTo>
                <a:lnTo>
                  <a:pt x="976" y="643"/>
                </a:lnTo>
                <a:lnTo>
                  <a:pt x="972" y="641"/>
                </a:lnTo>
                <a:lnTo>
                  <a:pt x="968" y="640"/>
                </a:lnTo>
                <a:lnTo>
                  <a:pt x="964" y="638"/>
                </a:lnTo>
                <a:lnTo>
                  <a:pt x="959" y="635"/>
                </a:lnTo>
                <a:lnTo>
                  <a:pt x="953" y="633"/>
                </a:lnTo>
                <a:lnTo>
                  <a:pt x="947" y="630"/>
                </a:lnTo>
                <a:lnTo>
                  <a:pt x="940" y="628"/>
                </a:lnTo>
                <a:lnTo>
                  <a:pt x="933" y="624"/>
                </a:lnTo>
                <a:lnTo>
                  <a:pt x="926" y="621"/>
                </a:lnTo>
                <a:lnTo>
                  <a:pt x="918" y="618"/>
                </a:lnTo>
                <a:lnTo>
                  <a:pt x="911" y="614"/>
                </a:lnTo>
                <a:lnTo>
                  <a:pt x="903" y="610"/>
                </a:lnTo>
                <a:lnTo>
                  <a:pt x="896" y="606"/>
                </a:lnTo>
                <a:lnTo>
                  <a:pt x="888" y="602"/>
                </a:lnTo>
                <a:lnTo>
                  <a:pt x="881" y="598"/>
                </a:lnTo>
                <a:lnTo>
                  <a:pt x="874" y="593"/>
                </a:lnTo>
                <a:lnTo>
                  <a:pt x="867" y="589"/>
                </a:lnTo>
                <a:lnTo>
                  <a:pt x="861" y="584"/>
                </a:lnTo>
                <a:lnTo>
                  <a:pt x="854" y="578"/>
                </a:lnTo>
                <a:lnTo>
                  <a:pt x="847" y="573"/>
                </a:lnTo>
                <a:lnTo>
                  <a:pt x="841" y="568"/>
                </a:lnTo>
                <a:lnTo>
                  <a:pt x="834" y="562"/>
                </a:lnTo>
                <a:lnTo>
                  <a:pt x="828" y="556"/>
                </a:lnTo>
                <a:lnTo>
                  <a:pt x="822" y="550"/>
                </a:lnTo>
                <a:lnTo>
                  <a:pt x="816" y="544"/>
                </a:lnTo>
                <a:lnTo>
                  <a:pt x="810" y="538"/>
                </a:lnTo>
                <a:lnTo>
                  <a:pt x="804" y="531"/>
                </a:lnTo>
                <a:lnTo>
                  <a:pt x="799" y="525"/>
                </a:lnTo>
                <a:lnTo>
                  <a:pt x="793" y="518"/>
                </a:lnTo>
                <a:lnTo>
                  <a:pt x="788" y="512"/>
                </a:lnTo>
                <a:lnTo>
                  <a:pt x="782" y="505"/>
                </a:lnTo>
                <a:lnTo>
                  <a:pt x="777" y="499"/>
                </a:lnTo>
                <a:lnTo>
                  <a:pt x="772" y="492"/>
                </a:lnTo>
                <a:lnTo>
                  <a:pt x="767" y="486"/>
                </a:lnTo>
                <a:lnTo>
                  <a:pt x="763" y="479"/>
                </a:lnTo>
                <a:lnTo>
                  <a:pt x="758" y="472"/>
                </a:lnTo>
                <a:lnTo>
                  <a:pt x="753" y="466"/>
                </a:lnTo>
                <a:lnTo>
                  <a:pt x="749" y="459"/>
                </a:lnTo>
                <a:lnTo>
                  <a:pt x="745" y="452"/>
                </a:lnTo>
                <a:lnTo>
                  <a:pt x="741" y="446"/>
                </a:lnTo>
                <a:lnTo>
                  <a:pt x="737" y="439"/>
                </a:lnTo>
                <a:lnTo>
                  <a:pt x="733" y="432"/>
                </a:lnTo>
                <a:lnTo>
                  <a:pt x="729" y="425"/>
                </a:lnTo>
                <a:lnTo>
                  <a:pt x="726" y="418"/>
                </a:lnTo>
                <a:lnTo>
                  <a:pt x="722" y="410"/>
                </a:lnTo>
                <a:lnTo>
                  <a:pt x="719" y="403"/>
                </a:lnTo>
                <a:lnTo>
                  <a:pt x="716" y="395"/>
                </a:lnTo>
                <a:lnTo>
                  <a:pt x="713" y="388"/>
                </a:lnTo>
                <a:lnTo>
                  <a:pt x="711" y="380"/>
                </a:lnTo>
                <a:lnTo>
                  <a:pt x="708" y="372"/>
                </a:lnTo>
                <a:lnTo>
                  <a:pt x="706" y="364"/>
                </a:lnTo>
                <a:lnTo>
                  <a:pt x="704" y="355"/>
                </a:lnTo>
                <a:lnTo>
                  <a:pt x="702" y="347"/>
                </a:lnTo>
                <a:lnTo>
                  <a:pt x="701" y="338"/>
                </a:lnTo>
                <a:lnTo>
                  <a:pt x="699" y="330"/>
                </a:lnTo>
                <a:lnTo>
                  <a:pt x="698" y="321"/>
                </a:lnTo>
                <a:lnTo>
                  <a:pt x="697" y="3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5" name="Freeform 6"/>
          <p:cNvSpPr>
            <a:spLocks noChangeAspect="1"/>
          </p:cNvSpPr>
          <p:nvPr/>
        </p:nvSpPr>
        <p:spPr bwMode="auto">
          <a:xfrm>
            <a:off x="2749218" y="1407585"/>
            <a:ext cx="2266950" cy="1847850"/>
          </a:xfrm>
          <a:custGeom>
            <a:avLst/>
            <a:gdLst>
              <a:gd name="T0" fmla="*/ 2147483647 w 1207"/>
              <a:gd name="T1" fmla="*/ 489188737 h 985"/>
              <a:gd name="T2" fmla="*/ 2147483647 w 1207"/>
              <a:gd name="T3" fmla="*/ 478630668 h 985"/>
              <a:gd name="T4" fmla="*/ 2147483647 w 1207"/>
              <a:gd name="T5" fmla="*/ 475111312 h 985"/>
              <a:gd name="T6" fmla="*/ 2147483647 w 1207"/>
              <a:gd name="T7" fmla="*/ 432879039 h 985"/>
              <a:gd name="T8" fmla="*/ 2147483647 w 1207"/>
              <a:gd name="T9" fmla="*/ 320259645 h 985"/>
              <a:gd name="T10" fmla="*/ 2147483647 w 1207"/>
              <a:gd name="T11" fmla="*/ 158371082 h 985"/>
              <a:gd name="T12" fmla="*/ 2147483647 w 1207"/>
              <a:gd name="T13" fmla="*/ 45751644 h 985"/>
              <a:gd name="T14" fmla="*/ 2147483647 w 1207"/>
              <a:gd name="T15" fmla="*/ 0 h 985"/>
              <a:gd name="T16" fmla="*/ 2147483647 w 1207"/>
              <a:gd name="T17" fmla="*/ 70387151 h 985"/>
              <a:gd name="T18" fmla="*/ 2147483647 w 1207"/>
              <a:gd name="T19" fmla="*/ 341375781 h 985"/>
              <a:gd name="T20" fmla="*/ 2147483647 w 1207"/>
              <a:gd name="T21" fmla="*/ 809448381 h 985"/>
              <a:gd name="T22" fmla="*/ 2147483647 w 1207"/>
              <a:gd name="T23" fmla="*/ 1217692045 h 985"/>
              <a:gd name="T24" fmla="*/ 2147483647 w 1207"/>
              <a:gd name="T25" fmla="*/ 1421812822 h 985"/>
              <a:gd name="T26" fmla="*/ 2147483647 w 1207"/>
              <a:gd name="T27" fmla="*/ 1471083807 h 985"/>
              <a:gd name="T28" fmla="*/ 2147483647 w 1207"/>
              <a:gd name="T29" fmla="*/ 1675204584 h 985"/>
              <a:gd name="T30" fmla="*/ 2147483647 w 1207"/>
              <a:gd name="T31" fmla="*/ 2083448483 h 985"/>
              <a:gd name="T32" fmla="*/ 2147483647 w 1207"/>
              <a:gd name="T33" fmla="*/ 2147483647 h 985"/>
              <a:gd name="T34" fmla="*/ 2147483647 w 1207"/>
              <a:gd name="T35" fmla="*/ 2147483647 h 985"/>
              <a:gd name="T36" fmla="*/ 2147483647 w 1207"/>
              <a:gd name="T37" fmla="*/ 2147483647 h 985"/>
              <a:gd name="T38" fmla="*/ 2147483647 w 1207"/>
              <a:gd name="T39" fmla="*/ 2147483647 h 985"/>
              <a:gd name="T40" fmla="*/ 2147483647 w 1207"/>
              <a:gd name="T41" fmla="*/ 2147483647 h 985"/>
              <a:gd name="T42" fmla="*/ 2147483647 w 1207"/>
              <a:gd name="T43" fmla="*/ 2147483647 h 985"/>
              <a:gd name="T44" fmla="*/ 2147483647 w 1207"/>
              <a:gd name="T45" fmla="*/ 2147483647 h 985"/>
              <a:gd name="T46" fmla="*/ 2147483647 w 1207"/>
              <a:gd name="T47" fmla="*/ 2147483647 h 985"/>
              <a:gd name="T48" fmla="*/ 2147483647 w 1207"/>
              <a:gd name="T49" fmla="*/ 2147483647 h 985"/>
              <a:gd name="T50" fmla="*/ 2147483647 w 1207"/>
              <a:gd name="T51" fmla="*/ 2147483647 h 985"/>
              <a:gd name="T52" fmla="*/ 2147483647 w 1207"/>
              <a:gd name="T53" fmla="*/ 2147483647 h 985"/>
              <a:gd name="T54" fmla="*/ 2147483647 w 1207"/>
              <a:gd name="T55" fmla="*/ 2147483647 h 985"/>
              <a:gd name="T56" fmla="*/ 2147483647 w 1207"/>
              <a:gd name="T57" fmla="*/ 2147483647 h 985"/>
              <a:gd name="T58" fmla="*/ 2147483647 w 1207"/>
              <a:gd name="T59" fmla="*/ 2147483647 h 985"/>
              <a:gd name="T60" fmla="*/ 2147483647 w 1207"/>
              <a:gd name="T61" fmla="*/ 2147483647 h 985"/>
              <a:gd name="T62" fmla="*/ 2147483647 w 1207"/>
              <a:gd name="T63" fmla="*/ 2147483647 h 985"/>
              <a:gd name="T64" fmla="*/ 2147483647 w 1207"/>
              <a:gd name="T65" fmla="*/ 2147483647 h 985"/>
              <a:gd name="T66" fmla="*/ 2134148501 w 1207"/>
              <a:gd name="T67" fmla="*/ 2147483647 h 985"/>
              <a:gd name="T68" fmla="*/ 2053015389 w 1207"/>
              <a:gd name="T69" fmla="*/ 2147483647 h 985"/>
              <a:gd name="T70" fmla="*/ 2000103633 w 1207"/>
              <a:gd name="T71" fmla="*/ 2147483647 h 985"/>
              <a:gd name="T72" fmla="*/ 1971884155 w 1207"/>
              <a:gd name="T73" fmla="*/ 2147483647 h 985"/>
              <a:gd name="T74" fmla="*/ 1950718607 w 1207"/>
              <a:gd name="T75" fmla="*/ 2147483647 h 985"/>
              <a:gd name="T76" fmla="*/ 1806090261 w 1207"/>
              <a:gd name="T77" fmla="*/ 2147483647 h 985"/>
              <a:gd name="T78" fmla="*/ 1513304490 w 1207"/>
              <a:gd name="T79" fmla="*/ 2147483647 h 985"/>
              <a:gd name="T80" fmla="*/ 1174663241 w 1207"/>
              <a:gd name="T81" fmla="*/ 2147483647 h 985"/>
              <a:gd name="T82" fmla="*/ 980650104 w 1207"/>
              <a:gd name="T83" fmla="*/ 2147483647 h 985"/>
              <a:gd name="T84" fmla="*/ 927736469 w 1207"/>
              <a:gd name="T85" fmla="*/ 2147483647 h 985"/>
              <a:gd name="T86" fmla="*/ 843076157 w 1207"/>
              <a:gd name="T87" fmla="*/ 2147483647 h 985"/>
              <a:gd name="T88" fmla="*/ 624370977 w 1207"/>
              <a:gd name="T89" fmla="*/ 2147483647 h 985"/>
              <a:gd name="T90" fmla="*/ 306894688 w 1207"/>
              <a:gd name="T91" fmla="*/ 2147483647 h 985"/>
              <a:gd name="T92" fmla="*/ 88187542 w 1207"/>
              <a:gd name="T93" fmla="*/ 2147483647 h 985"/>
              <a:gd name="T94" fmla="*/ 3527201 w 1207"/>
              <a:gd name="T95" fmla="*/ 2147483647 h 985"/>
              <a:gd name="T96" fmla="*/ 10583482 w 1207"/>
              <a:gd name="T97" fmla="*/ 2147483647 h 985"/>
              <a:gd name="T98" fmla="*/ 42330171 w 1207"/>
              <a:gd name="T99" fmla="*/ 2147483647 h 985"/>
              <a:gd name="T100" fmla="*/ 98771020 w 1207"/>
              <a:gd name="T101" fmla="*/ 2147483647 h 985"/>
              <a:gd name="T102" fmla="*/ 201069239 w 1207"/>
              <a:gd name="T103" fmla="*/ 2147483647 h 985"/>
              <a:gd name="T104" fmla="*/ 359806444 w 1207"/>
              <a:gd name="T105" fmla="*/ 2147483647 h 985"/>
              <a:gd name="T106" fmla="*/ 567930142 w 1207"/>
              <a:gd name="T107" fmla="*/ 1970830964 h 985"/>
              <a:gd name="T108" fmla="*/ 818383879 w 1207"/>
              <a:gd name="T109" fmla="*/ 1643530379 h 985"/>
              <a:gd name="T110" fmla="*/ 1107640807 w 1207"/>
              <a:gd name="T111" fmla="*/ 1351425701 h 985"/>
              <a:gd name="T112" fmla="*/ 1432173256 w 1207"/>
              <a:gd name="T113" fmla="*/ 1094514583 h 985"/>
              <a:gd name="T114" fmla="*/ 1788452383 w 1207"/>
              <a:gd name="T115" fmla="*/ 879833627 h 985"/>
              <a:gd name="T116" fmla="*/ 2147483647 w 1207"/>
              <a:gd name="T117" fmla="*/ 707387055 h 985"/>
              <a:gd name="T118" fmla="*/ 2147483647 w 1207"/>
              <a:gd name="T119" fmla="*/ 587728948 h 985"/>
              <a:gd name="T120" fmla="*/ 2147483647 w 1207"/>
              <a:gd name="T121" fmla="*/ 517343703 h 98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207"/>
              <a:gd name="T184" fmla="*/ 0 h 985"/>
              <a:gd name="T185" fmla="*/ 1207 w 1207"/>
              <a:gd name="T186" fmla="*/ 985 h 98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207" h="985">
                <a:moveTo>
                  <a:pt x="859" y="142"/>
                </a:moveTo>
                <a:lnTo>
                  <a:pt x="872" y="142"/>
                </a:lnTo>
                <a:lnTo>
                  <a:pt x="884" y="141"/>
                </a:lnTo>
                <a:lnTo>
                  <a:pt x="896" y="140"/>
                </a:lnTo>
                <a:lnTo>
                  <a:pt x="906" y="139"/>
                </a:lnTo>
                <a:lnTo>
                  <a:pt x="916" y="139"/>
                </a:lnTo>
                <a:lnTo>
                  <a:pt x="925" y="138"/>
                </a:lnTo>
                <a:lnTo>
                  <a:pt x="933" y="138"/>
                </a:lnTo>
                <a:lnTo>
                  <a:pt x="940" y="137"/>
                </a:lnTo>
                <a:lnTo>
                  <a:pt x="946" y="137"/>
                </a:lnTo>
                <a:lnTo>
                  <a:pt x="952" y="137"/>
                </a:lnTo>
                <a:lnTo>
                  <a:pt x="956" y="136"/>
                </a:lnTo>
                <a:lnTo>
                  <a:pt x="960" y="136"/>
                </a:lnTo>
                <a:lnTo>
                  <a:pt x="963" y="136"/>
                </a:lnTo>
                <a:lnTo>
                  <a:pt x="965" y="136"/>
                </a:lnTo>
                <a:lnTo>
                  <a:pt x="967" y="136"/>
                </a:lnTo>
                <a:lnTo>
                  <a:pt x="967" y="135"/>
                </a:lnTo>
                <a:lnTo>
                  <a:pt x="967" y="133"/>
                </a:lnTo>
                <a:lnTo>
                  <a:pt x="967" y="131"/>
                </a:lnTo>
                <a:lnTo>
                  <a:pt x="967" y="129"/>
                </a:lnTo>
                <a:lnTo>
                  <a:pt x="967" y="126"/>
                </a:lnTo>
                <a:lnTo>
                  <a:pt x="967" y="123"/>
                </a:lnTo>
                <a:lnTo>
                  <a:pt x="967" y="119"/>
                </a:lnTo>
                <a:lnTo>
                  <a:pt x="967" y="114"/>
                </a:lnTo>
                <a:lnTo>
                  <a:pt x="967" y="109"/>
                </a:lnTo>
                <a:lnTo>
                  <a:pt x="967" y="104"/>
                </a:lnTo>
                <a:lnTo>
                  <a:pt x="967" y="98"/>
                </a:lnTo>
                <a:lnTo>
                  <a:pt x="967" y="91"/>
                </a:lnTo>
                <a:lnTo>
                  <a:pt x="967" y="84"/>
                </a:lnTo>
                <a:lnTo>
                  <a:pt x="967" y="76"/>
                </a:lnTo>
                <a:lnTo>
                  <a:pt x="967" y="68"/>
                </a:lnTo>
                <a:lnTo>
                  <a:pt x="967" y="60"/>
                </a:lnTo>
                <a:lnTo>
                  <a:pt x="967" y="52"/>
                </a:lnTo>
                <a:lnTo>
                  <a:pt x="967" y="45"/>
                </a:lnTo>
                <a:lnTo>
                  <a:pt x="967" y="38"/>
                </a:lnTo>
                <a:lnTo>
                  <a:pt x="967" y="32"/>
                </a:lnTo>
                <a:lnTo>
                  <a:pt x="967" y="27"/>
                </a:lnTo>
                <a:lnTo>
                  <a:pt x="967" y="21"/>
                </a:lnTo>
                <a:lnTo>
                  <a:pt x="967" y="17"/>
                </a:lnTo>
                <a:lnTo>
                  <a:pt x="967" y="13"/>
                </a:lnTo>
                <a:lnTo>
                  <a:pt x="967" y="10"/>
                </a:lnTo>
                <a:lnTo>
                  <a:pt x="967" y="7"/>
                </a:lnTo>
                <a:lnTo>
                  <a:pt x="967" y="4"/>
                </a:lnTo>
                <a:lnTo>
                  <a:pt x="967" y="2"/>
                </a:lnTo>
                <a:lnTo>
                  <a:pt x="967" y="1"/>
                </a:lnTo>
                <a:lnTo>
                  <a:pt x="967" y="0"/>
                </a:lnTo>
                <a:lnTo>
                  <a:pt x="967" y="1"/>
                </a:lnTo>
                <a:lnTo>
                  <a:pt x="969" y="3"/>
                </a:lnTo>
                <a:lnTo>
                  <a:pt x="971" y="7"/>
                </a:lnTo>
                <a:lnTo>
                  <a:pt x="974" y="13"/>
                </a:lnTo>
                <a:lnTo>
                  <a:pt x="979" y="20"/>
                </a:lnTo>
                <a:lnTo>
                  <a:pt x="984" y="29"/>
                </a:lnTo>
                <a:lnTo>
                  <a:pt x="990" y="39"/>
                </a:lnTo>
                <a:lnTo>
                  <a:pt x="997" y="51"/>
                </a:lnTo>
                <a:lnTo>
                  <a:pt x="1005" y="65"/>
                </a:lnTo>
                <a:lnTo>
                  <a:pt x="1014" y="80"/>
                </a:lnTo>
                <a:lnTo>
                  <a:pt x="1023" y="97"/>
                </a:lnTo>
                <a:lnTo>
                  <a:pt x="1034" y="116"/>
                </a:lnTo>
                <a:lnTo>
                  <a:pt x="1046" y="136"/>
                </a:lnTo>
                <a:lnTo>
                  <a:pt x="1058" y="157"/>
                </a:lnTo>
                <a:lnTo>
                  <a:pt x="1072" y="181"/>
                </a:lnTo>
                <a:lnTo>
                  <a:pt x="1086" y="205"/>
                </a:lnTo>
                <a:lnTo>
                  <a:pt x="1101" y="230"/>
                </a:lnTo>
                <a:lnTo>
                  <a:pt x="1114" y="254"/>
                </a:lnTo>
                <a:lnTo>
                  <a:pt x="1127" y="275"/>
                </a:lnTo>
                <a:lnTo>
                  <a:pt x="1139" y="295"/>
                </a:lnTo>
                <a:lnTo>
                  <a:pt x="1149" y="314"/>
                </a:lnTo>
                <a:lnTo>
                  <a:pt x="1159" y="331"/>
                </a:lnTo>
                <a:lnTo>
                  <a:pt x="1168" y="346"/>
                </a:lnTo>
                <a:lnTo>
                  <a:pt x="1176" y="359"/>
                </a:lnTo>
                <a:lnTo>
                  <a:pt x="1183" y="372"/>
                </a:lnTo>
                <a:lnTo>
                  <a:pt x="1189" y="382"/>
                </a:lnTo>
                <a:lnTo>
                  <a:pt x="1194" y="391"/>
                </a:lnTo>
                <a:lnTo>
                  <a:pt x="1198" y="398"/>
                </a:lnTo>
                <a:lnTo>
                  <a:pt x="1202" y="404"/>
                </a:lnTo>
                <a:lnTo>
                  <a:pt x="1204" y="408"/>
                </a:lnTo>
                <a:lnTo>
                  <a:pt x="1205" y="410"/>
                </a:lnTo>
                <a:lnTo>
                  <a:pt x="1206" y="411"/>
                </a:lnTo>
                <a:lnTo>
                  <a:pt x="1205" y="412"/>
                </a:lnTo>
                <a:lnTo>
                  <a:pt x="1204" y="414"/>
                </a:lnTo>
                <a:lnTo>
                  <a:pt x="1202" y="418"/>
                </a:lnTo>
                <a:lnTo>
                  <a:pt x="1198" y="424"/>
                </a:lnTo>
                <a:lnTo>
                  <a:pt x="1194" y="431"/>
                </a:lnTo>
                <a:lnTo>
                  <a:pt x="1189" y="440"/>
                </a:lnTo>
                <a:lnTo>
                  <a:pt x="1183" y="450"/>
                </a:lnTo>
                <a:lnTo>
                  <a:pt x="1176" y="462"/>
                </a:lnTo>
                <a:lnTo>
                  <a:pt x="1168" y="476"/>
                </a:lnTo>
                <a:lnTo>
                  <a:pt x="1159" y="491"/>
                </a:lnTo>
                <a:lnTo>
                  <a:pt x="1149" y="508"/>
                </a:lnTo>
                <a:lnTo>
                  <a:pt x="1139" y="527"/>
                </a:lnTo>
                <a:lnTo>
                  <a:pt x="1127" y="547"/>
                </a:lnTo>
                <a:lnTo>
                  <a:pt x="1114" y="569"/>
                </a:lnTo>
                <a:lnTo>
                  <a:pt x="1101" y="592"/>
                </a:lnTo>
                <a:lnTo>
                  <a:pt x="1086" y="617"/>
                </a:lnTo>
                <a:lnTo>
                  <a:pt x="1072" y="642"/>
                </a:lnTo>
                <a:lnTo>
                  <a:pt x="1058" y="666"/>
                </a:lnTo>
                <a:lnTo>
                  <a:pt x="1046" y="687"/>
                </a:lnTo>
                <a:lnTo>
                  <a:pt x="1034" y="708"/>
                </a:lnTo>
                <a:lnTo>
                  <a:pt x="1023" y="726"/>
                </a:lnTo>
                <a:lnTo>
                  <a:pt x="1014" y="743"/>
                </a:lnTo>
                <a:lnTo>
                  <a:pt x="1005" y="758"/>
                </a:lnTo>
                <a:lnTo>
                  <a:pt x="997" y="772"/>
                </a:lnTo>
                <a:lnTo>
                  <a:pt x="990" y="784"/>
                </a:lnTo>
                <a:lnTo>
                  <a:pt x="984" y="795"/>
                </a:lnTo>
                <a:lnTo>
                  <a:pt x="979" y="803"/>
                </a:lnTo>
                <a:lnTo>
                  <a:pt x="974" y="811"/>
                </a:lnTo>
                <a:lnTo>
                  <a:pt x="971" y="816"/>
                </a:lnTo>
                <a:lnTo>
                  <a:pt x="969" y="820"/>
                </a:lnTo>
                <a:lnTo>
                  <a:pt x="967" y="823"/>
                </a:lnTo>
                <a:lnTo>
                  <a:pt x="967" y="824"/>
                </a:lnTo>
                <a:lnTo>
                  <a:pt x="967" y="823"/>
                </a:lnTo>
                <a:lnTo>
                  <a:pt x="967" y="821"/>
                </a:lnTo>
                <a:lnTo>
                  <a:pt x="967" y="819"/>
                </a:lnTo>
                <a:lnTo>
                  <a:pt x="967" y="817"/>
                </a:lnTo>
                <a:lnTo>
                  <a:pt x="967" y="814"/>
                </a:lnTo>
                <a:lnTo>
                  <a:pt x="967" y="810"/>
                </a:lnTo>
                <a:lnTo>
                  <a:pt x="967" y="806"/>
                </a:lnTo>
                <a:lnTo>
                  <a:pt x="967" y="802"/>
                </a:lnTo>
                <a:lnTo>
                  <a:pt x="967" y="797"/>
                </a:lnTo>
                <a:lnTo>
                  <a:pt x="967" y="791"/>
                </a:lnTo>
                <a:lnTo>
                  <a:pt x="967" y="785"/>
                </a:lnTo>
                <a:lnTo>
                  <a:pt x="967" y="778"/>
                </a:lnTo>
                <a:lnTo>
                  <a:pt x="967" y="771"/>
                </a:lnTo>
                <a:lnTo>
                  <a:pt x="967" y="763"/>
                </a:lnTo>
                <a:lnTo>
                  <a:pt x="967" y="755"/>
                </a:lnTo>
                <a:lnTo>
                  <a:pt x="967" y="746"/>
                </a:lnTo>
                <a:lnTo>
                  <a:pt x="967" y="739"/>
                </a:lnTo>
                <a:lnTo>
                  <a:pt x="967" y="731"/>
                </a:lnTo>
                <a:lnTo>
                  <a:pt x="967" y="725"/>
                </a:lnTo>
                <a:lnTo>
                  <a:pt x="967" y="719"/>
                </a:lnTo>
                <a:lnTo>
                  <a:pt x="967" y="713"/>
                </a:lnTo>
                <a:lnTo>
                  <a:pt x="967" y="708"/>
                </a:lnTo>
                <a:lnTo>
                  <a:pt x="967" y="703"/>
                </a:lnTo>
                <a:lnTo>
                  <a:pt x="967" y="699"/>
                </a:lnTo>
                <a:lnTo>
                  <a:pt x="967" y="696"/>
                </a:lnTo>
                <a:lnTo>
                  <a:pt x="967" y="693"/>
                </a:lnTo>
                <a:lnTo>
                  <a:pt x="967" y="690"/>
                </a:lnTo>
                <a:lnTo>
                  <a:pt x="967" y="688"/>
                </a:lnTo>
                <a:lnTo>
                  <a:pt x="967" y="687"/>
                </a:lnTo>
                <a:lnTo>
                  <a:pt x="967" y="686"/>
                </a:lnTo>
                <a:lnTo>
                  <a:pt x="966" y="686"/>
                </a:lnTo>
                <a:lnTo>
                  <a:pt x="965" y="686"/>
                </a:lnTo>
                <a:lnTo>
                  <a:pt x="964" y="686"/>
                </a:lnTo>
                <a:lnTo>
                  <a:pt x="963" y="686"/>
                </a:lnTo>
                <a:lnTo>
                  <a:pt x="961" y="686"/>
                </a:lnTo>
                <a:lnTo>
                  <a:pt x="959" y="686"/>
                </a:lnTo>
                <a:lnTo>
                  <a:pt x="956" y="687"/>
                </a:lnTo>
                <a:lnTo>
                  <a:pt x="953" y="687"/>
                </a:lnTo>
                <a:lnTo>
                  <a:pt x="950" y="687"/>
                </a:lnTo>
                <a:lnTo>
                  <a:pt x="946" y="687"/>
                </a:lnTo>
                <a:lnTo>
                  <a:pt x="942" y="687"/>
                </a:lnTo>
                <a:lnTo>
                  <a:pt x="938" y="687"/>
                </a:lnTo>
                <a:lnTo>
                  <a:pt x="933" y="687"/>
                </a:lnTo>
                <a:lnTo>
                  <a:pt x="928" y="688"/>
                </a:lnTo>
                <a:lnTo>
                  <a:pt x="923" y="688"/>
                </a:lnTo>
                <a:lnTo>
                  <a:pt x="917" y="688"/>
                </a:lnTo>
                <a:lnTo>
                  <a:pt x="912" y="689"/>
                </a:lnTo>
                <a:lnTo>
                  <a:pt x="905" y="690"/>
                </a:lnTo>
                <a:lnTo>
                  <a:pt x="899" y="691"/>
                </a:lnTo>
                <a:lnTo>
                  <a:pt x="893" y="692"/>
                </a:lnTo>
                <a:lnTo>
                  <a:pt x="886" y="693"/>
                </a:lnTo>
                <a:lnTo>
                  <a:pt x="879" y="695"/>
                </a:lnTo>
                <a:lnTo>
                  <a:pt x="871" y="697"/>
                </a:lnTo>
                <a:lnTo>
                  <a:pt x="864" y="699"/>
                </a:lnTo>
                <a:lnTo>
                  <a:pt x="856" y="701"/>
                </a:lnTo>
                <a:lnTo>
                  <a:pt x="848" y="703"/>
                </a:lnTo>
                <a:lnTo>
                  <a:pt x="839" y="706"/>
                </a:lnTo>
                <a:lnTo>
                  <a:pt x="831" y="709"/>
                </a:lnTo>
                <a:lnTo>
                  <a:pt x="822" y="712"/>
                </a:lnTo>
                <a:lnTo>
                  <a:pt x="813" y="715"/>
                </a:lnTo>
                <a:lnTo>
                  <a:pt x="804" y="719"/>
                </a:lnTo>
                <a:lnTo>
                  <a:pt x="794" y="722"/>
                </a:lnTo>
                <a:lnTo>
                  <a:pt x="785" y="726"/>
                </a:lnTo>
                <a:lnTo>
                  <a:pt x="776" y="730"/>
                </a:lnTo>
                <a:lnTo>
                  <a:pt x="767" y="735"/>
                </a:lnTo>
                <a:lnTo>
                  <a:pt x="758" y="739"/>
                </a:lnTo>
                <a:lnTo>
                  <a:pt x="749" y="744"/>
                </a:lnTo>
                <a:lnTo>
                  <a:pt x="741" y="749"/>
                </a:lnTo>
                <a:lnTo>
                  <a:pt x="732" y="755"/>
                </a:lnTo>
                <a:lnTo>
                  <a:pt x="724" y="760"/>
                </a:lnTo>
                <a:lnTo>
                  <a:pt x="716" y="766"/>
                </a:lnTo>
                <a:lnTo>
                  <a:pt x="708" y="772"/>
                </a:lnTo>
                <a:lnTo>
                  <a:pt x="700" y="779"/>
                </a:lnTo>
                <a:lnTo>
                  <a:pt x="692" y="785"/>
                </a:lnTo>
                <a:lnTo>
                  <a:pt x="685" y="792"/>
                </a:lnTo>
                <a:lnTo>
                  <a:pt x="677" y="799"/>
                </a:lnTo>
                <a:lnTo>
                  <a:pt x="670" y="806"/>
                </a:lnTo>
                <a:lnTo>
                  <a:pt x="663" y="814"/>
                </a:lnTo>
                <a:lnTo>
                  <a:pt x="656" y="821"/>
                </a:lnTo>
                <a:lnTo>
                  <a:pt x="649" y="829"/>
                </a:lnTo>
                <a:lnTo>
                  <a:pt x="643" y="836"/>
                </a:lnTo>
                <a:lnTo>
                  <a:pt x="637" y="843"/>
                </a:lnTo>
                <a:lnTo>
                  <a:pt x="631" y="851"/>
                </a:lnTo>
                <a:lnTo>
                  <a:pt x="625" y="858"/>
                </a:lnTo>
                <a:lnTo>
                  <a:pt x="619" y="866"/>
                </a:lnTo>
                <a:lnTo>
                  <a:pt x="614" y="873"/>
                </a:lnTo>
                <a:lnTo>
                  <a:pt x="609" y="880"/>
                </a:lnTo>
                <a:lnTo>
                  <a:pt x="605" y="888"/>
                </a:lnTo>
                <a:lnTo>
                  <a:pt x="600" y="895"/>
                </a:lnTo>
                <a:lnTo>
                  <a:pt x="596" y="903"/>
                </a:lnTo>
                <a:lnTo>
                  <a:pt x="592" y="910"/>
                </a:lnTo>
                <a:lnTo>
                  <a:pt x="588" y="917"/>
                </a:lnTo>
                <a:lnTo>
                  <a:pt x="585" y="925"/>
                </a:lnTo>
                <a:lnTo>
                  <a:pt x="582" y="932"/>
                </a:lnTo>
                <a:lnTo>
                  <a:pt x="579" y="939"/>
                </a:lnTo>
                <a:lnTo>
                  <a:pt x="576" y="945"/>
                </a:lnTo>
                <a:lnTo>
                  <a:pt x="573" y="951"/>
                </a:lnTo>
                <a:lnTo>
                  <a:pt x="571" y="956"/>
                </a:lnTo>
                <a:lnTo>
                  <a:pt x="569" y="961"/>
                </a:lnTo>
                <a:lnTo>
                  <a:pt x="567" y="965"/>
                </a:lnTo>
                <a:lnTo>
                  <a:pt x="565" y="969"/>
                </a:lnTo>
                <a:lnTo>
                  <a:pt x="563" y="973"/>
                </a:lnTo>
                <a:lnTo>
                  <a:pt x="562" y="976"/>
                </a:lnTo>
                <a:lnTo>
                  <a:pt x="561" y="978"/>
                </a:lnTo>
                <a:lnTo>
                  <a:pt x="560" y="980"/>
                </a:lnTo>
                <a:lnTo>
                  <a:pt x="559" y="982"/>
                </a:lnTo>
                <a:lnTo>
                  <a:pt x="558" y="983"/>
                </a:lnTo>
                <a:lnTo>
                  <a:pt x="558" y="984"/>
                </a:lnTo>
                <a:lnTo>
                  <a:pt x="557" y="984"/>
                </a:lnTo>
                <a:lnTo>
                  <a:pt x="556" y="983"/>
                </a:lnTo>
                <a:lnTo>
                  <a:pt x="553" y="981"/>
                </a:lnTo>
                <a:lnTo>
                  <a:pt x="549" y="979"/>
                </a:lnTo>
                <a:lnTo>
                  <a:pt x="544" y="976"/>
                </a:lnTo>
                <a:lnTo>
                  <a:pt x="537" y="972"/>
                </a:lnTo>
                <a:lnTo>
                  <a:pt x="530" y="968"/>
                </a:lnTo>
                <a:lnTo>
                  <a:pt x="521" y="963"/>
                </a:lnTo>
                <a:lnTo>
                  <a:pt x="512" y="957"/>
                </a:lnTo>
                <a:lnTo>
                  <a:pt x="501" y="951"/>
                </a:lnTo>
                <a:lnTo>
                  <a:pt x="489" y="944"/>
                </a:lnTo>
                <a:lnTo>
                  <a:pt x="475" y="936"/>
                </a:lnTo>
                <a:lnTo>
                  <a:pt x="461" y="928"/>
                </a:lnTo>
                <a:lnTo>
                  <a:pt x="445" y="919"/>
                </a:lnTo>
                <a:lnTo>
                  <a:pt x="429" y="909"/>
                </a:lnTo>
                <a:lnTo>
                  <a:pt x="411" y="899"/>
                </a:lnTo>
                <a:lnTo>
                  <a:pt x="393" y="889"/>
                </a:lnTo>
                <a:lnTo>
                  <a:pt x="376" y="879"/>
                </a:lnTo>
                <a:lnTo>
                  <a:pt x="361" y="870"/>
                </a:lnTo>
                <a:lnTo>
                  <a:pt x="347" y="862"/>
                </a:lnTo>
                <a:lnTo>
                  <a:pt x="333" y="854"/>
                </a:lnTo>
                <a:lnTo>
                  <a:pt x="321" y="847"/>
                </a:lnTo>
                <a:lnTo>
                  <a:pt x="310" y="841"/>
                </a:lnTo>
                <a:lnTo>
                  <a:pt x="301" y="835"/>
                </a:lnTo>
                <a:lnTo>
                  <a:pt x="292" y="830"/>
                </a:lnTo>
                <a:lnTo>
                  <a:pt x="284" y="826"/>
                </a:lnTo>
                <a:lnTo>
                  <a:pt x="278" y="822"/>
                </a:lnTo>
                <a:lnTo>
                  <a:pt x="273" y="819"/>
                </a:lnTo>
                <a:lnTo>
                  <a:pt x="269" y="817"/>
                </a:lnTo>
                <a:lnTo>
                  <a:pt x="266" y="815"/>
                </a:lnTo>
                <a:lnTo>
                  <a:pt x="264" y="814"/>
                </a:lnTo>
                <a:lnTo>
                  <a:pt x="263" y="814"/>
                </a:lnTo>
                <a:lnTo>
                  <a:pt x="262" y="815"/>
                </a:lnTo>
                <a:lnTo>
                  <a:pt x="259" y="817"/>
                </a:lnTo>
                <a:lnTo>
                  <a:pt x="256" y="819"/>
                </a:lnTo>
                <a:lnTo>
                  <a:pt x="251" y="822"/>
                </a:lnTo>
                <a:lnTo>
                  <a:pt x="245" y="825"/>
                </a:lnTo>
                <a:lnTo>
                  <a:pt x="239" y="829"/>
                </a:lnTo>
                <a:lnTo>
                  <a:pt x="231" y="833"/>
                </a:lnTo>
                <a:lnTo>
                  <a:pt x="222" y="838"/>
                </a:lnTo>
                <a:lnTo>
                  <a:pt x="212" y="844"/>
                </a:lnTo>
                <a:lnTo>
                  <a:pt x="201" y="850"/>
                </a:lnTo>
                <a:lnTo>
                  <a:pt x="190" y="857"/>
                </a:lnTo>
                <a:lnTo>
                  <a:pt x="177" y="865"/>
                </a:lnTo>
                <a:lnTo>
                  <a:pt x="163" y="873"/>
                </a:lnTo>
                <a:lnTo>
                  <a:pt x="148" y="881"/>
                </a:lnTo>
                <a:lnTo>
                  <a:pt x="132" y="890"/>
                </a:lnTo>
                <a:lnTo>
                  <a:pt x="116" y="900"/>
                </a:lnTo>
                <a:lnTo>
                  <a:pt x="101" y="908"/>
                </a:lnTo>
                <a:lnTo>
                  <a:pt x="87" y="916"/>
                </a:lnTo>
                <a:lnTo>
                  <a:pt x="74" y="924"/>
                </a:lnTo>
                <a:lnTo>
                  <a:pt x="62" y="931"/>
                </a:lnTo>
                <a:lnTo>
                  <a:pt x="52" y="937"/>
                </a:lnTo>
                <a:lnTo>
                  <a:pt x="42" y="943"/>
                </a:lnTo>
                <a:lnTo>
                  <a:pt x="33" y="948"/>
                </a:lnTo>
                <a:lnTo>
                  <a:pt x="25" y="952"/>
                </a:lnTo>
                <a:lnTo>
                  <a:pt x="19" y="956"/>
                </a:lnTo>
                <a:lnTo>
                  <a:pt x="13" y="959"/>
                </a:lnTo>
                <a:lnTo>
                  <a:pt x="8" y="962"/>
                </a:lnTo>
                <a:lnTo>
                  <a:pt x="5" y="964"/>
                </a:lnTo>
                <a:lnTo>
                  <a:pt x="2" y="966"/>
                </a:lnTo>
                <a:lnTo>
                  <a:pt x="1" y="967"/>
                </a:lnTo>
                <a:lnTo>
                  <a:pt x="0" y="967"/>
                </a:lnTo>
                <a:lnTo>
                  <a:pt x="0" y="965"/>
                </a:lnTo>
                <a:lnTo>
                  <a:pt x="1" y="963"/>
                </a:lnTo>
                <a:lnTo>
                  <a:pt x="2" y="960"/>
                </a:lnTo>
                <a:lnTo>
                  <a:pt x="3" y="956"/>
                </a:lnTo>
                <a:lnTo>
                  <a:pt x="4" y="951"/>
                </a:lnTo>
                <a:lnTo>
                  <a:pt x="5" y="946"/>
                </a:lnTo>
                <a:lnTo>
                  <a:pt x="6" y="939"/>
                </a:lnTo>
                <a:lnTo>
                  <a:pt x="8" y="932"/>
                </a:lnTo>
                <a:lnTo>
                  <a:pt x="10" y="924"/>
                </a:lnTo>
                <a:lnTo>
                  <a:pt x="12" y="915"/>
                </a:lnTo>
                <a:lnTo>
                  <a:pt x="14" y="905"/>
                </a:lnTo>
                <a:lnTo>
                  <a:pt x="16" y="894"/>
                </a:lnTo>
                <a:lnTo>
                  <a:pt x="19" y="882"/>
                </a:lnTo>
                <a:lnTo>
                  <a:pt x="22" y="870"/>
                </a:lnTo>
                <a:lnTo>
                  <a:pt x="25" y="856"/>
                </a:lnTo>
                <a:lnTo>
                  <a:pt x="28" y="842"/>
                </a:lnTo>
                <a:lnTo>
                  <a:pt x="32" y="828"/>
                </a:lnTo>
                <a:lnTo>
                  <a:pt x="36" y="814"/>
                </a:lnTo>
                <a:lnTo>
                  <a:pt x="41" y="799"/>
                </a:lnTo>
                <a:lnTo>
                  <a:pt x="46" y="784"/>
                </a:lnTo>
                <a:lnTo>
                  <a:pt x="51" y="769"/>
                </a:lnTo>
                <a:lnTo>
                  <a:pt x="57" y="754"/>
                </a:lnTo>
                <a:lnTo>
                  <a:pt x="64" y="739"/>
                </a:lnTo>
                <a:lnTo>
                  <a:pt x="70" y="724"/>
                </a:lnTo>
                <a:lnTo>
                  <a:pt x="78" y="708"/>
                </a:lnTo>
                <a:lnTo>
                  <a:pt x="85" y="692"/>
                </a:lnTo>
                <a:lnTo>
                  <a:pt x="93" y="676"/>
                </a:lnTo>
                <a:lnTo>
                  <a:pt x="102" y="660"/>
                </a:lnTo>
                <a:lnTo>
                  <a:pt x="111" y="643"/>
                </a:lnTo>
                <a:lnTo>
                  <a:pt x="120" y="626"/>
                </a:lnTo>
                <a:lnTo>
                  <a:pt x="130" y="610"/>
                </a:lnTo>
                <a:lnTo>
                  <a:pt x="140" y="593"/>
                </a:lnTo>
                <a:lnTo>
                  <a:pt x="151" y="576"/>
                </a:lnTo>
                <a:lnTo>
                  <a:pt x="161" y="560"/>
                </a:lnTo>
                <a:lnTo>
                  <a:pt x="173" y="544"/>
                </a:lnTo>
                <a:lnTo>
                  <a:pt x="184" y="528"/>
                </a:lnTo>
                <a:lnTo>
                  <a:pt x="196" y="512"/>
                </a:lnTo>
                <a:lnTo>
                  <a:pt x="208" y="497"/>
                </a:lnTo>
                <a:lnTo>
                  <a:pt x="220" y="482"/>
                </a:lnTo>
                <a:lnTo>
                  <a:pt x="232" y="467"/>
                </a:lnTo>
                <a:lnTo>
                  <a:pt x="245" y="453"/>
                </a:lnTo>
                <a:lnTo>
                  <a:pt x="258" y="438"/>
                </a:lnTo>
                <a:lnTo>
                  <a:pt x="272" y="424"/>
                </a:lnTo>
                <a:lnTo>
                  <a:pt x="286" y="411"/>
                </a:lnTo>
                <a:lnTo>
                  <a:pt x="300" y="397"/>
                </a:lnTo>
                <a:lnTo>
                  <a:pt x="314" y="384"/>
                </a:lnTo>
                <a:lnTo>
                  <a:pt x="329" y="371"/>
                </a:lnTo>
                <a:lnTo>
                  <a:pt x="344" y="358"/>
                </a:lnTo>
                <a:lnTo>
                  <a:pt x="359" y="346"/>
                </a:lnTo>
                <a:lnTo>
                  <a:pt x="374" y="334"/>
                </a:lnTo>
                <a:lnTo>
                  <a:pt x="390" y="322"/>
                </a:lnTo>
                <a:lnTo>
                  <a:pt x="406" y="311"/>
                </a:lnTo>
                <a:lnTo>
                  <a:pt x="422" y="300"/>
                </a:lnTo>
                <a:lnTo>
                  <a:pt x="439" y="289"/>
                </a:lnTo>
                <a:lnTo>
                  <a:pt x="456" y="279"/>
                </a:lnTo>
                <a:lnTo>
                  <a:pt x="473" y="269"/>
                </a:lnTo>
                <a:lnTo>
                  <a:pt x="490" y="259"/>
                </a:lnTo>
                <a:lnTo>
                  <a:pt x="507" y="250"/>
                </a:lnTo>
                <a:lnTo>
                  <a:pt x="525" y="241"/>
                </a:lnTo>
                <a:lnTo>
                  <a:pt x="543" y="232"/>
                </a:lnTo>
                <a:lnTo>
                  <a:pt x="562" y="224"/>
                </a:lnTo>
                <a:lnTo>
                  <a:pt x="580" y="216"/>
                </a:lnTo>
                <a:lnTo>
                  <a:pt x="599" y="208"/>
                </a:lnTo>
                <a:lnTo>
                  <a:pt x="618" y="201"/>
                </a:lnTo>
                <a:lnTo>
                  <a:pt x="636" y="194"/>
                </a:lnTo>
                <a:lnTo>
                  <a:pt x="655" y="188"/>
                </a:lnTo>
                <a:lnTo>
                  <a:pt x="672" y="182"/>
                </a:lnTo>
                <a:lnTo>
                  <a:pt x="690" y="176"/>
                </a:lnTo>
                <a:lnTo>
                  <a:pt x="707" y="171"/>
                </a:lnTo>
                <a:lnTo>
                  <a:pt x="724" y="167"/>
                </a:lnTo>
                <a:lnTo>
                  <a:pt x="740" y="162"/>
                </a:lnTo>
                <a:lnTo>
                  <a:pt x="756" y="158"/>
                </a:lnTo>
                <a:lnTo>
                  <a:pt x="772" y="155"/>
                </a:lnTo>
                <a:lnTo>
                  <a:pt x="787" y="152"/>
                </a:lnTo>
                <a:lnTo>
                  <a:pt x="802" y="149"/>
                </a:lnTo>
                <a:lnTo>
                  <a:pt x="817" y="147"/>
                </a:lnTo>
                <a:lnTo>
                  <a:pt x="831" y="145"/>
                </a:lnTo>
                <a:lnTo>
                  <a:pt x="845" y="143"/>
                </a:lnTo>
                <a:lnTo>
                  <a:pt x="859" y="142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148064" y="2506148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3491880" y="202116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4722480" y="429309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2831768" y="3874573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9282529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5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3"/>
          <p:cNvSpPr>
            <a:spLocks noChangeAspect="1"/>
          </p:cNvSpPr>
          <p:nvPr/>
        </p:nvSpPr>
        <p:spPr bwMode="auto">
          <a:xfrm>
            <a:off x="4813693" y="1690059"/>
            <a:ext cx="1763580" cy="1832420"/>
          </a:xfrm>
          <a:custGeom>
            <a:avLst/>
            <a:gdLst>
              <a:gd name="T0" fmla="*/ 965109972 w 980"/>
              <a:gd name="T1" fmla="*/ 2147483647 h 1037"/>
              <a:gd name="T2" fmla="*/ 880451174 w 980"/>
              <a:gd name="T3" fmla="*/ 2147483647 h 1037"/>
              <a:gd name="T4" fmla="*/ 734837702 w 980"/>
              <a:gd name="T5" fmla="*/ 2147483647 h 1037"/>
              <a:gd name="T6" fmla="*/ 609543758 w 980"/>
              <a:gd name="T7" fmla="*/ 2147483647 h 1037"/>
              <a:gd name="T8" fmla="*/ 545202878 w 980"/>
              <a:gd name="T9" fmla="*/ 2147483647 h 1037"/>
              <a:gd name="T10" fmla="*/ 565520566 w 980"/>
              <a:gd name="T11" fmla="*/ 2147483647 h 1037"/>
              <a:gd name="T12" fmla="*/ 795792606 w 980"/>
              <a:gd name="T13" fmla="*/ 2147483647 h 1037"/>
              <a:gd name="T14" fmla="*/ 1259722892 w 980"/>
              <a:gd name="T15" fmla="*/ 2147483647 h 1037"/>
              <a:gd name="T16" fmla="*/ 1791379801 w 980"/>
              <a:gd name="T17" fmla="*/ 2147483647 h 1037"/>
              <a:gd name="T18" fmla="*/ 2099538919 w 980"/>
              <a:gd name="T19" fmla="*/ 2147483647 h 1037"/>
              <a:gd name="T20" fmla="*/ 2147483647 w 980"/>
              <a:gd name="T21" fmla="*/ 2147483647 h 1037"/>
              <a:gd name="T22" fmla="*/ 2147483647 w 980"/>
              <a:gd name="T23" fmla="*/ 2147483647 h 1037"/>
              <a:gd name="T24" fmla="*/ 2147483647 w 980"/>
              <a:gd name="T25" fmla="*/ 2147483647 h 1037"/>
              <a:gd name="T26" fmla="*/ 2147483647 w 980"/>
              <a:gd name="T27" fmla="*/ 2147483647 h 1037"/>
              <a:gd name="T28" fmla="*/ 2147483647 w 980"/>
              <a:gd name="T29" fmla="*/ 2147483647 h 1037"/>
              <a:gd name="T30" fmla="*/ 2147483647 w 980"/>
              <a:gd name="T31" fmla="*/ 2147483647 h 1037"/>
              <a:gd name="T32" fmla="*/ 2147483647 w 980"/>
              <a:gd name="T33" fmla="*/ 2147483647 h 1037"/>
              <a:gd name="T34" fmla="*/ 2147483647 w 980"/>
              <a:gd name="T35" fmla="*/ 2147483647 h 1037"/>
              <a:gd name="T36" fmla="*/ 2147483647 w 980"/>
              <a:gd name="T37" fmla="*/ 2147483647 h 1037"/>
              <a:gd name="T38" fmla="*/ 2147483647 w 980"/>
              <a:gd name="T39" fmla="*/ 2147483647 h 1037"/>
              <a:gd name="T40" fmla="*/ 2147483647 w 980"/>
              <a:gd name="T41" fmla="*/ 2147483647 h 1037"/>
              <a:gd name="T42" fmla="*/ 2147483647 w 980"/>
              <a:gd name="T43" fmla="*/ 2147483647 h 1037"/>
              <a:gd name="T44" fmla="*/ 2147483647 w 980"/>
              <a:gd name="T45" fmla="*/ 2147483647 h 1037"/>
              <a:gd name="T46" fmla="*/ 2147483647 w 980"/>
              <a:gd name="T47" fmla="*/ 2068807583 h 1037"/>
              <a:gd name="T48" fmla="*/ 2147483647 w 980"/>
              <a:gd name="T49" fmla="*/ 1794547118 h 1037"/>
              <a:gd name="T50" fmla="*/ 2147483647 w 980"/>
              <a:gd name="T51" fmla="*/ 1510127972 h 1037"/>
              <a:gd name="T52" fmla="*/ 2147483647 w 980"/>
              <a:gd name="T53" fmla="*/ 1218937292 h 1037"/>
              <a:gd name="T54" fmla="*/ 1957311421 w 980"/>
              <a:gd name="T55" fmla="*/ 948062824 h 1037"/>
              <a:gd name="T56" fmla="*/ 1696561469 w 980"/>
              <a:gd name="T57" fmla="*/ 714432022 h 1037"/>
              <a:gd name="T58" fmla="*/ 1425654052 w 980"/>
              <a:gd name="T59" fmla="*/ 518048338 h 1037"/>
              <a:gd name="T60" fmla="*/ 1154746636 w 980"/>
              <a:gd name="T61" fmla="*/ 358909815 h 1037"/>
              <a:gd name="T62" fmla="*/ 887224964 w 980"/>
              <a:gd name="T63" fmla="*/ 233629019 h 1037"/>
              <a:gd name="T64" fmla="*/ 636633395 w 980"/>
              <a:gd name="T65" fmla="*/ 142209631 h 1037"/>
              <a:gd name="T66" fmla="*/ 423294794 w 980"/>
              <a:gd name="T67" fmla="*/ 77876349 h 1037"/>
              <a:gd name="T68" fmla="*/ 250589843 w 980"/>
              <a:gd name="T69" fmla="*/ 37245291 h 1037"/>
              <a:gd name="T70" fmla="*/ 128681816 w 980"/>
              <a:gd name="T71" fmla="*/ 13543071 h 1037"/>
              <a:gd name="T72" fmla="*/ 67726883 w 980"/>
              <a:gd name="T73" fmla="*/ 3385768 h 1037"/>
              <a:gd name="T74" fmla="*/ 71112858 w 980"/>
              <a:gd name="T75" fmla="*/ 16928842 h 1037"/>
              <a:gd name="T76" fmla="*/ 145613530 w 980"/>
              <a:gd name="T77" fmla="*/ 152366931 h 1037"/>
              <a:gd name="T78" fmla="*/ 301384984 w 980"/>
              <a:gd name="T79" fmla="*/ 419855460 h 1037"/>
              <a:gd name="T80" fmla="*/ 477475909 w 980"/>
              <a:gd name="T81" fmla="*/ 727976930 h 1037"/>
              <a:gd name="T82" fmla="*/ 579066305 w 980"/>
              <a:gd name="T83" fmla="*/ 907431780 h 1037"/>
              <a:gd name="T84" fmla="*/ 602769968 w 980"/>
              <a:gd name="T85" fmla="*/ 954834358 h 1037"/>
              <a:gd name="T86" fmla="*/ 548588853 w 980"/>
              <a:gd name="T87" fmla="*/ 1056413117 h 1037"/>
              <a:gd name="T88" fmla="*/ 406361240 w 980"/>
              <a:gd name="T89" fmla="*/ 1303585146 h 1037"/>
              <a:gd name="T90" fmla="*/ 199794645 w 980"/>
              <a:gd name="T91" fmla="*/ 1662494846 h 1037"/>
              <a:gd name="T92" fmla="*/ 57567104 w 980"/>
              <a:gd name="T93" fmla="*/ 1909668715 h 1037"/>
              <a:gd name="T94" fmla="*/ 0 w 980"/>
              <a:gd name="T95" fmla="*/ 2007860098 h 1037"/>
              <a:gd name="T96" fmla="*/ 16931721 w 980"/>
              <a:gd name="T97" fmla="*/ 2018019239 h 1037"/>
              <a:gd name="T98" fmla="*/ 84658596 w 980"/>
              <a:gd name="T99" fmla="*/ 2045105374 h 1037"/>
              <a:gd name="T100" fmla="*/ 206566595 w 980"/>
              <a:gd name="T101" fmla="*/ 2092509792 h 1037"/>
              <a:gd name="T102" fmla="*/ 348794150 w 980"/>
              <a:gd name="T103" fmla="*/ 2147483647 h 1037"/>
              <a:gd name="T104" fmla="*/ 501179687 w 980"/>
              <a:gd name="T105" fmla="*/ 2147483647 h 1037"/>
              <a:gd name="T106" fmla="*/ 656952924 w 980"/>
              <a:gd name="T107" fmla="*/ 2147483647 h 1037"/>
              <a:gd name="T108" fmla="*/ 785632842 w 980"/>
              <a:gd name="T109" fmla="*/ 2147483647 h 1037"/>
              <a:gd name="T110" fmla="*/ 877065199 w 980"/>
              <a:gd name="T111" fmla="*/ 2147483647 h 1037"/>
              <a:gd name="T112" fmla="*/ 941406079 w 980"/>
              <a:gd name="T113" fmla="*/ 2147483647 h 1037"/>
              <a:gd name="T114" fmla="*/ 978655711 w 980"/>
              <a:gd name="T115" fmla="*/ 2147483647 h 1037"/>
              <a:gd name="T116" fmla="*/ 985427660 w 980"/>
              <a:gd name="T117" fmla="*/ 2147483647 h 103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80"/>
              <a:gd name="T178" fmla="*/ 0 h 1037"/>
              <a:gd name="T179" fmla="*/ 980 w 980"/>
              <a:gd name="T180" fmla="*/ 1037 h 103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80" h="1037">
                <a:moveTo>
                  <a:pt x="291" y="886"/>
                </a:moveTo>
                <a:lnTo>
                  <a:pt x="291" y="886"/>
                </a:lnTo>
                <a:lnTo>
                  <a:pt x="290" y="886"/>
                </a:lnTo>
                <a:lnTo>
                  <a:pt x="289" y="887"/>
                </a:lnTo>
                <a:lnTo>
                  <a:pt x="287" y="887"/>
                </a:lnTo>
                <a:lnTo>
                  <a:pt x="285" y="888"/>
                </a:lnTo>
                <a:lnTo>
                  <a:pt x="282" y="889"/>
                </a:lnTo>
                <a:lnTo>
                  <a:pt x="279" y="890"/>
                </a:lnTo>
                <a:lnTo>
                  <a:pt x="275" y="892"/>
                </a:lnTo>
                <a:lnTo>
                  <a:pt x="270" y="893"/>
                </a:lnTo>
                <a:lnTo>
                  <a:pt x="265" y="895"/>
                </a:lnTo>
                <a:lnTo>
                  <a:pt x="260" y="897"/>
                </a:lnTo>
                <a:lnTo>
                  <a:pt x="254" y="899"/>
                </a:lnTo>
                <a:lnTo>
                  <a:pt x="247" y="901"/>
                </a:lnTo>
                <a:lnTo>
                  <a:pt x="241" y="903"/>
                </a:lnTo>
                <a:lnTo>
                  <a:pt x="233" y="906"/>
                </a:lnTo>
                <a:lnTo>
                  <a:pt x="225" y="908"/>
                </a:lnTo>
                <a:lnTo>
                  <a:pt x="217" y="911"/>
                </a:lnTo>
                <a:lnTo>
                  <a:pt x="209" y="914"/>
                </a:lnTo>
                <a:lnTo>
                  <a:pt x="202" y="916"/>
                </a:lnTo>
                <a:lnTo>
                  <a:pt x="196" y="918"/>
                </a:lnTo>
                <a:lnTo>
                  <a:pt x="190" y="920"/>
                </a:lnTo>
                <a:lnTo>
                  <a:pt x="185" y="922"/>
                </a:lnTo>
                <a:lnTo>
                  <a:pt x="180" y="924"/>
                </a:lnTo>
                <a:lnTo>
                  <a:pt x="175" y="925"/>
                </a:lnTo>
                <a:lnTo>
                  <a:pt x="171" y="926"/>
                </a:lnTo>
                <a:lnTo>
                  <a:pt x="168" y="927"/>
                </a:lnTo>
                <a:lnTo>
                  <a:pt x="165" y="928"/>
                </a:lnTo>
                <a:lnTo>
                  <a:pt x="163" y="929"/>
                </a:lnTo>
                <a:lnTo>
                  <a:pt x="161" y="930"/>
                </a:lnTo>
                <a:lnTo>
                  <a:pt x="160" y="930"/>
                </a:lnTo>
                <a:lnTo>
                  <a:pt x="159" y="931"/>
                </a:lnTo>
                <a:lnTo>
                  <a:pt x="160" y="931"/>
                </a:lnTo>
                <a:lnTo>
                  <a:pt x="162" y="931"/>
                </a:lnTo>
                <a:lnTo>
                  <a:pt x="167" y="932"/>
                </a:lnTo>
                <a:lnTo>
                  <a:pt x="174" y="934"/>
                </a:lnTo>
                <a:lnTo>
                  <a:pt x="182" y="936"/>
                </a:lnTo>
                <a:lnTo>
                  <a:pt x="193" y="938"/>
                </a:lnTo>
                <a:lnTo>
                  <a:pt x="205" y="941"/>
                </a:lnTo>
                <a:lnTo>
                  <a:pt x="219" y="944"/>
                </a:lnTo>
                <a:lnTo>
                  <a:pt x="235" y="947"/>
                </a:lnTo>
                <a:lnTo>
                  <a:pt x="253" y="951"/>
                </a:lnTo>
                <a:lnTo>
                  <a:pt x="273" y="956"/>
                </a:lnTo>
                <a:lnTo>
                  <a:pt x="295" y="960"/>
                </a:lnTo>
                <a:lnTo>
                  <a:pt x="319" y="965"/>
                </a:lnTo>
                <a:lnTo>
                  <a:pt x="344" y="971"/>
                </a:lnTo>
                <a:lnTo>
                  <a:pt x="372" y="977"/>
                </a:lnTo>
                <a:lnTo>
                  <a:pt x="401" y="983"/>
                </a:lnTo>
                <a:lnTo>
                  <a:pt x="430" y="990"/>
                </a:lnTo>
                <a:lnTo>
                  <a:pt x="458" y="996"/>
                </a:lnTo>
                <a:lnTo>
                  <a:pt x="483" y="1001"/>
                </a:lnTo>
                <a:lnTo>
                  <a:pt x="507" y="1006"/>
                </a:lnTo>
                <a:lnTo>
                  <a:pt x="529" y="1011"/>
                </a:lnTo>
                <a:lnTo>
                  <a:pt x="549" y="1015"/>
                </a:lnTo>
                <a:lnTo>
                  <a:pt x="567" y="1019"/>
                </a:lnTo>
                <a:lnTo>
                  <a:pt x="583" y="1023"/>
                </a:lnTo>
                <a:lnTo>
                  <a:pt x="597" y="1026"/>
                </a:lnTo>
                <a:lnTo>
                  <a:pt x="609" y="1029"/>
                </a:lnTo>
                <a:lnTo>
                  <a:pt x="620" y="1031"/>
                </a:lnTo>
                <a:lnTo>
                  <a:pt x="628" y="1033"/>
                </a:lnTo>
                <a:lnTo>
                  <a:pt x="635" y="1034"/>
                </a:lnTo>
                <a:lnTo>
                  <a:pt x="639" y="1035"/>
                </a:lnTo>
                <a:lnTo>
                  <a:pt x="642" y="1036"/>
                </a:lnTo>
                <a:lnTo>
                  <a:pt x="643" y="1036"/>
                </a:lnTo>
                <a:lnTo>
                  <a:pt x="644" y="1035"/>
                </a:lnTo>
                <a:lnTo>
                  <a:pt x="646" y="1033"/>
                </a:lnTo>
                <a:lnTo>
                  <a:pt x="649" y="1029"/>
                </a:lnTo>
                <a:lnTo>
                  <a:pt x="654" y="1024"/>
                </a:lnTo>
                <a:lnTo>
                  <a:pt x="660" y="1018"/>
                </a:lnTo>
                <a:lnTo>
                  <a:pt x="667" y="1010"/>
                </a:lnTo>
                <a:lnTo>
                  <a:pt x="675" y="1000"/>
                </a:lnTo>
                <a:lnTo>
                  <a:pt x="685" y="989"/>
                </a:lnTo>
                <a:lnTo>
                  <a:pt x="696" y="977"/>
                </a:lnTo>
                <a:lnTo>
                  <a:pt x="709" y="963"/>
                </a:lnTo>
                <a:lnTo>
                  <a:pt x="723" y="947"/>
                </a:lnTo>
                <a:lnTo>
                  <a:pt x="738" y="931"/>
                </a:lnTo>
                <a:lnTo>
                  <a:pt x="754" y="912"/>
                </a:lnTo>
                <a:lnTo>
                  <a:pt x="772" y="892"/>
                </a:lnTo>
                <a:lnTo>
                  <a:pt x="791" y="871"/>
                </a:lnTo>
                <a:lnTo>
                  <a:pt x="811" y="848"/>
                </a:lnTo>
                <a:lnTo>
                  <a:pt x="831" y="826"/>
                </a:lnTo>
                <a:lnTo>
                  <a:pt x="850" y="805"/>
                </a:lnTo>
                <a:lnTo>
                  <a:pt x="868" y="785"/>
                </a:lnTo>
                <a:lnTo>
                  <a:pt x="885" y="766"/>
                </a:lnTo>
                <a:lnTo>
                  <a:pt x="900" y="750"/>
                </a:lnTo>
                <a:lnTo>
                  <a:pt x="913" y="734"/>
                </a:lnTo>
                <a:lnTo>
                  <a:pt x="926" y="720"/>
                </a:lnTo>
                <a:lnTo>
                  <a:pt x="937" y="708"/>
                </a:lnTo>
                <a:lnTo>
                  <a:pt x="947" y="697"/>
                </a:lnTo>
                <a:lnTo>
                  <a:pt x="955" y="687"/>
                </a:lnTo>
                <a:lnTo>
                  <a:pt x="963" y="679"/>
                </a:lnTo>
                <a:lnTo>
                  <a:pt x="968" y="673"/>
                </a:lnTo>
                <a:lnTo>
                  <a:pt x="973" y="668"/>
                </a:lnTo>
                <a:lnTo>
                  <a:pt x="976" y="664"/>
                </a:lnTo>
                <a:lnTo>
                  <a:pt x="978" y="662"/>
                </a:lnTo>
                <a:lnTo>
                  <a:pt x="979" y="661"/>
                </a:lnTo>
                <a:lnTo>
                  <a:pt x="978" y="661"/>
                </a:lnTo>
                <a:lnTo>
                  <a:pt x="977" y="662"/>
                </a:lnTo>
                <a:lnTo>
                  <a:pt x="975" y="662"/>
                </a:lnTo>
                <a:lnTo>
                  <a:pt x="972" y="663"/>
                </a:lnTo>
                <a:lnTo>
                  <a:pt x="969" y="664"/>
                </a:lnTo>
                <a:lnTo>
                  <a:pt x="966" y="665"/>
                </a:lnTo>
                <a:lnTo>
                  <a:pt x="962" y="667"/>
                </a:lnTo>
                <a:lnTo>
                  <a:pt x="957" y="668"/>
                </a:lnTo>
                <a:lnTo>
                  <a:pt x="952" y="670"/>
                </a:lnTo>
                <a:lnTo>
                  <a:pt x="947" y="672"/>
                </a:lnTo>
                <a:lnTo>
                  <a:pt x="941" y="674"/>
                </a:lnTo>
                <a:lnTo>
                  <a:pt x="934" y="676"/>
                </a:lnTo>
                <a:lnTo>
                  <a:pt x="927" y="678"/>
                </a:lnTo>
                <a:lnTo>
                  <a:pt x="919" y="681"/>
                </a:lnTo>
                <a:lnTo>
                  <a:pt x="911" y="683"/>
                </a:lnTo>
                <a:lnTo>
                  <a:pt x="902" y="686"/>
                </a:lnTo>
                <a:lnTo>
                  <a:pt x="895" y="689"/>
                </a:lnTo>
                <a:lnTo>
                  <a:pt x="887" y="691"/>
                </a:lnTo>
                <a:lnTo>
                  <a:pt x="881" y="693"/>
                </a:lnTo>
                <a:lnTo>
                  <a:pt x="875" y="695"/>
                </a:lnTo>
                <a:lnTo>
                  <a:pt x="869" y="697"/>
                </a:lnTo>
                <a:lnTo>
                  <a:pt x="864" y="699"/>
                </a:lnTo>
                <a:lnTo>
                  <a:pt x="859" y="700"/>
                </a:lnTo>
                <a:lnTo>
                  <a:pt x="855" y="701"/>
                </a:lnTo>
                <a:lnTo>
                  <a:pt x="852" y="702"/>
                </a:lnTo>
                <a:lnTo>
                  <a:pt x="849" y="703"/>
                </a:lnTo>
                <a:lnTo>
                  <a:pt x="847" y="704"/>
                </a:lnTo>
                <a:lnTo>
                  <a:pt x="845" y="705"/>
                </a:lnTo>
                <a:lnTo>
                  <a:pt x="843" y="705"/>
                </a:lnTo>
                <a:lnTo>
                  <a:pt x="842" y="706"/>
                </a:lnTo>
                <a:lnTo>
                  <a:pt x="842" y="705"/>
                </a:lnTo>
                <a:lnTo>
                  <a:pt x="842" y="704"/>
                </a:lnTo>
                <a:lnTo>
                  <a:pt x="841" y="702"/>
                </a:lnTo>
                <a:lnTo>
                  <a:pt x="840" y="699"/>
                </a:lnTo>
                <a:lnTo>
                  <a:pt x="838" y="695"/>
                </a:lnTo>
                <a:lnTo>
                  <a:pt x="836" y="690"/>
                </a:lnTo>
                <a:lnTo>
                  <a:pt x="834" y="685"/>
                </a:lnTo>
                <a:lnTo>
                  <a:pt x="831" y="679"/>
                </a:lnTo>
                <a:lnTo>
                  <a:pt x="829" y="672"/>
                </a:lnTo>
                <a:lnTo>
                  <a:pt x="825" y="664"/>
                </a:lnTo>
                <a:lnTo>
                  <a:pt x="822" y="655"/>
                </a:lnTo>
                <a:lnTo>
                  <a:pt x="818" y="645"/>
                </a:lnTo>
                <a:lnTo>
                  <a:pt x="814" y="635"/>
                </a:lnTo>
                <a:lnTo>
                  <a:pt x="809" y="623"/>
                </a:lnTo>
                <a:lnTo>
                  <a:pt x="804" y="611"/>
                </a:lnTo>
                <a:lnTo>
                  <a:pt x="799" y="598"/>
                </a:lnTo>
                <a:lnTo>
                  <a:pt x="793" y="585"/>
                </a:lnTo>
                <a:lnTo>
                  <a:pt x="787" y="571"/>
                </a:lnTo>
                <a:lnTo>
                  <a:pt x="781" y="558"/>
                </a:lnTo>
                <a:lnTo>
                  <a:pt x="774" y="544"/>
                </a:lnTo>
                <a:lnTo>
                  <a:pt x="767" y="530"/>
                </a:lnTo>
                <a:lnTo>
                  <a:pt x="760" y="516"/>
                </a:lnTo>
                <a:lnTo>
                  <a:pt x="752" y="502"/>
                </a:lnTo>
                <a:lnTo>
                  <a:pt x="743" y="488"/>
                </a:lnTo>
                <a:lnTo>
                  <a:pt x="734" y="474"/>
                </a:lnTo>
                <a:lnTo>
                  <a:pt x="725" y="460"/>
                </a:lnTo>
                <a:lnTo>
                  <a:pt x="716" y="446"/>
                </a:lnTo>
                <a:lnTo>
                  <a:pt x="706" y="432"/>
                </a:lnTo>
                <a:lnTo>
                  <a:pt x="696" y="418"/>
                </a:lnTo>
                <a:lnTo>
                  <a:pt x="685" y="403"/>
                </a:lnTo>
                <a:lnTo>
                  <a:pt x="674" y="389"/>
                </a:lnTo>
                <a:lnTo>
                  <a:pt x="662" y="374"/>
                </a:lnTo>
                <a:lnTo>
                  <a:pt x="651" y="360"/>
                </a:lnTo>
                <a:lnTo>
                  <a:pt x="639" y="346"/>
                </a:lnTo>
                <a:lnTo>
                  <a:pt x="627" y="332"/>
                </a:lnTo>
                <a:lnTo>
                  <a:pt x="615" y="318"/>
                </a:lnTo>
                <a:lnTo>
                  <a:pt x="602" y="305"/>
                </a:lnTo>
                <a:lnTo>
                  <a:pt x="590" y="292"/>
                </a:lnTo>
                <a:lnTo>
                  <a:pt x="578" y="280"/>
                </a:lnTo>
                <a:lnTo>
                  <a:pt x="565" y="267"/>
                </a:lnTo>
                <a:lnTo>
                  <a:pt x="553" y="255"/>
                </a:lnTo>
                <a:lnTo>
                  <a:pt x="540" y="244"/>
                </a:lnTo>
                <a:lnTo>
                  <a:pt x="527" y="233"/>
                </a:lnTo>
                <a:lnTo>
                  <a:pt x="514" y="222"/>
                </a:lnTo>
                <a:lnTo>
                  <a:pt x="501" y="211"/>
                </a:lnTo>
                <a:lnTo>
                  <a:pt x="488" y="200"/>
                </a:lnTo>
                <a:lnTo>
                  <a:pt x="475" y="190"/>
                </a:lnTo>
                <a:lnTo>
                  <a:pt x="461" y="181"/>
                </a:lnTo>
                <a:lnTo>
                  <a:pt x="448" y="171"/>
                </a:lnTo>
                <a:lnTo>
                  <a:pt x="434" y="162"/>
                </a:lnTo>
                <a:lnTo>
                  <a:pt x="421" y="153"/>
                </a:lnTo>
                <a:lnTo>
                  <a:pt x="408" y="144"/>
                </a:lnTo>
                <a:lnTo>
                  <a:pt x="394" y="136"/>
                </a:lnTo>
                <a:lnTo>
                  <a:pt x="381" y="128"/>
                </a:lnTo>
                <a:lnTo>
                  <a:pt x="368" y="120"/>
                </a:lnTo>
                <a:lnTo>
                  <a:pt x="354" y="113"/>
                </a:lnTo>
                <a:lnTo>
                  <a:pt x="341" y="106"/>
                </a:lnTo>
                <a:lnTo>
                  <a:pt x="328" y="99"/>
                </a:lnTo>
                <a:lnTo>
                  <a:pt x="315" y="92"/>
                </a:lnTo>
                <a:lnTo>
                  <a:pt x="302" y="86"/>
                </a:lnTo>
                <a:lnTo>
                  <a:pt x="288" y="80"/>
                </a:lnTo>
                <a:lnTo>
                  <a:pt x="275" y="74"/>
                </a:lnTo>
                <a:lnTo>
                  <a:pt x="262" y="69"/>
                </a:lnTo>
                <a:lnTo>
                  <a:pt x="249" y="64"/>
                </a:lnTo>
                <a:lnTo>
                  <a:pt x="236" y="59"/>
                </a:lnTo>
                <a:lnTo>
                  <a:pt x="224" y="55"/>
                </a:lnTo>
                <a:lnTo>
                  <a:pt x="211" y="50"/>
                </a:lnTo>
                <a:lnTo>
                  <a:pt x="199" y="46"/>
                </a:lnTo>
                <a:lnTo>
                  <a:pt x="188" y="42"/>
                </a:lnTo>
                <a:lnTo>
                  <a:pt x="176" y="38"/>
                </a:lnTo>
                <a:lnTo>
                  <a:pt x="165" y="35"/>
                </a:lnTo>
                <a:lnTo>
                  <a:pt x="155" y="31"/>
                </a:lnTo>
                <a:lnTo>
                  <a:pt x="144" y="28"/>
                </a:lnTo>
                <a:lnTo>
                  <a:pt x="134" y="25"/>
                </a:lnTo>
                <a:lnTo>
                  <a:pt x="125" y="23"/>
                </a:lnTo>
                <a:lnTo>
                  <a:pt x="115" y="20"/>
                </a:lnTo>
                <a:lnTo>
                  <a:pt x="106" y="18"/>
                </a:lnTo>
                <a:lnTo>
                  <a:pt x="98" y="16"/>
                </a:lnTo>
                <a:lnTo>
                  <a:pt x="89" y="14"/>
                </a:lnTo>
                <a:lnTo>
                  <a:pt x="81" y="12"/>
                </a:lnTo>
                <a:lnTo>
                  <a:pt x="74" y="11"/>
                </a:lnTo>
                <a:lnTo>
                  <a:pt x="66" y="9"/>
                </a:lnTo>
                <a:lnTo>
                  <a:pt x="60" y="8"/>
                </a:lnTo>
                <a:lnTo>
                  <a:pt x="53" y="7"/>
                </a:lnTo>
                <a:lnTo>
                  <a:pt x="48" y="6"/>
                </a:lnTo>
                <a:lnTo>
                  <a:pt x="43" y="5"/>
                </a:lnTo>
                <a:lnTo>
                  <a:pt x="38" y="4"/>
                </a:lnTo>
                <a:lnTo>
                  <a:pt x="34" y="3"/>
                </a:lnTo>
                <a:lnTo>
                  <a:pt x="30" y="2"/>
                </a:lnTo>
                <a:lnTo>
                  <a:pt x="27" y="2"/>
                </a:lnTo>
                <a:lnTo>
                  <a:pt x="24" y="1"/>
                </a:lnTo>
                <a:lnTo>
                  <a:pt x="22" y="1"/>
                </a:lnTo>
                <a:lnTo>
                  <a:pt x="20" y="1"/>
                </a:lnTo>
                <a:lnTo>
                  <a:pt x="19" y="0"/>
                </a:lnTo>
                <a:lnTo>
                  <a:pt x="18" y="0"/>
                </a:lnTo>
                <a:lnTo>
                  <a:pt x="18" y="1"/>
                </a:lnTo>
                <a:lnTo>
                  <a:pt x="19" y="2"/>
                </a:lnTo>
                <a:lnTo>
                  <a:pt x="21" y="5"/>
                </a:lnTo>
                <a:lnTo>
                  <a:pt x="23" y="9"/>
                </a:lnTo>
                <a:lnTo>
                  <a:pt x="26" y="14"/>
                </a:lnTo>
                <a:lnTo>
                  <a:pt x="29" y="20"/>
                </a:lnTo>
                <a:lnTo>
                  <a:pt x="33" y="27"/>
                </a:lnTo>
                <a:lnTo>
                  <a:pt x="38" y="35"/>
                </a:lnTo>
                <a:lnTo>
                  <a:pt x="43" y="45"/>
                </a:lnTo>
                <a:lnTo>
                  <a:pt x="49" y="55"/>
                </a:lnTo>
                <a:lnTo>
                  <a:pt x="56" y="67"/>
                </a:lnTo>
                <a:lnTo>
                  <a:pt x="63" y="79"/>
                </a:lnTo>
                <a:lnTo>
                  <a:pt x="71" y="93"/>
                </a:lnTo>
                <a:lnTo>
                  <a:pt x="79" y="108"/>
                </a:lnTo>
                <a:lnTo>
                  <a:pt x="89" y="124"/>
                </a:lnTo>
                <a:lnTo>
                  <a:pt x="98" y="141"/>
                </a:lnTo>
                <a:lnTo>
                  <a:pt x="108" y="158"/>
                </a:lnTo>
                <a:lnTo>
                  <a:pt x="117" y="174"/>
                </a:lnTo>
                <a:lnTo>
                  <a:pt x="126" y="189"/>
                </a:lnTo>
                <a:lnTo>
                  <a:pt x="133" y="203"/>
                </a:lnTo>
                <a:lnTo>
                  <a:pt x="141" y="215"/>
                </a:lnTo>
                <a:lnTo>
                  <a:pt x="147" y="227"/>
                </a:lnTo>
                <a:lnTo>
                  <a:pt x="153" y="237"/>
                </a:lnTo>
                <a:lnTo>
                  <a:pt x="159" y="247"/>
                </a:lnTo>
                <a:lnTo>
                  <a:pt x="163" y="255"/>
                </a:lnTo>
                <a:lnTo>
                  <a:pt x="167" y="262"/>
                </a:lnTo>
                <a:lnTo>
                  <a:pt x="171" y="268"/>
                </a:lnTo>
                <a:lnTo>
                  <a:pt x="174" y="273"/>
                </a:lnTo>
                <a:lnTo>
                  <a:pt x="176" y="277"/>
                </a:lnTo>
                <a:lnTo>
                  <a:pt x="177" y="280"/>
                </a:lnTo>
                <a:lnTo>
                  <a:pt x="178" y="281"/>
                </a:lnTo>
                <a:lnTo>
                  <a:pt x="179" y="282"/>
                </a:lnTo>
                <a:lnTo>
                  <a:pt x="178" y="282"/>
                </a:lnTo>
                <a:lnTo>
                  <a:pt x="177" y="284"/>
                </a:lnTo>
                <a:lnTo>
                  <a:pt x="176" y="287"/>
                </a:lnTo>
                <a:lnTo>
                  <a:pt x="173" y="292"/>
                </a:lnTo>
                <a:lnTo>
                  <a:pt x="170" y="297"/>
                </a:lnTo>
                <a:lnTo>
                  <a:pt x="166" y="304"/>
                </a:lnTo>
                <a:lnTo>
                  <a:pt x="162" y="312"/>
                </a:lnTo>
                <a:lnTo>
                  <a:pt x="156" y="321"/>
                </a:lnTo>
                <a:lnTo>
                  <a:pt x="150" y="331"/>
                </a:lnTo>
                <a:lnTo>
                  <a:pt x="144" y="343"/>
                </a:lnTo>
                <a:lnTo>
                  <a:pt x="136" y="356"/>
                </a:lnTo>
                <a:lnTo>
                  <a:pt x="128" y="370"/>
                </a:lnTo>
                <a:lnTo>
                  <a:pt x="120" y="385"/>
                </a:lnTo>
                <a:lnTo>
                  <a:pt x="110" y="401"/>
                </a:lnTo>
                <a:lnTo>
                  <a:pt x="100" y="419"/>
                </a:lnTo>
                <a:lnTo>
                  <a:pt x="89" y="438"/>
                </a:lnTo>
                <a:lnTo>
                  <a:pt x="78" y="457"/>
                </a:lnTo>
                <a:lnTo>
                  <a:pt x="68" y="475"/>
                </a:lnTo>
                <a:lnTo>
                  <a:pt x="59" y="491"/>
                </a:lnTo>
                <a:lnTo>
                  <a:pt x="50" y="506"/>
                </a:lnTo>
                <a:lnTo>
                  <a:pt x="42" y="520"/>
                </a:lnTo>
                <a:lnTo>
                  <a:pt x="35" y="533"/>
                </a:lnTo>
                <a:lnTo>
                  <a:pt x="28" y="545"/>
                </a:lnTo>
                <a:lnTo>
                  <a:pt x="22" y="555"/>
                </a:lnTo>
                <a:lnTo>
                  <a:pt x="17" y="564"/>
                </a:lnTo>
                <a:lnTo>
                  <a:pt x="12" y="572"/>
                </a:lnTo>
                <a:lnTo>
                  <a:pt x="8" y="579"/>
                </a:lnTo>
                <a:lnTo>
                  <a:pt x="5" y="584"/>
                </a:lnTo>
                <a:lnTo>
                  <a:pt x="3" y="589"/>
                </a:lnTo>
                <a:lnTo>
                  <a:pt x="1" y="592"/>
                </a:lnTo>
                <a:lnTo>
                  <a:pt x="0" y="593"/>
                </a:lnTo>
                <a:lnTo>
                  <a:pt x="0" y="594"/>
                </a:lnTo>
                <a:lnTo>
                  <a:pt x="1" y="594"/>
                </a:lnTo>
                <a:lnTo>
                  <a:pt x="2" y="595"/>
                </a:lnTo>
                <a:lnTo>
                  <a:pt x="3" y="595"/>
                </a:lnTo>
                <a:lnTo>
                  <a:pt x="5" y="596"/>
                </a:lnTo>
                <a:lnTo>
                  <a:pt x="7" y="597"/>
                </a:lnTo>
                <a:lnTo>
                  <a:pt x="10" y="598"/>
                </a:lnTo>
                <a:lnTo>
                  <a:pt x="13" y="599"/>
                </a:lnTo>
                <a:lnTo>
                  <a:pt x="17" y="601"/>
                </a:lnTo>
                <a:lnTo>
                  <a:pt x="21" y="602"/>
                </a:lnTo>
                <a:lnTo>
                  <a:pt x="25" y="604"/>
                </a:lnTo>
                <a:lnTo>
                  <a:pt x="30" y="606"/>
                </a:lnTo>
                <a:lnTo>
                  <a:pt x="36" y="608"/>
                </a:lnTo>
                <a:lnTo>
                  <a:pt x="41" y="610"/>
                </a:lnTo>
                <a:lnTo>
                  <a:pt x="47" y="613"/>
                </a:lnTo>
                <a:lnTo>
                  <a:pt x="54" y="615"/>
                </a:lnTo>
                <a:lnTo>
                  <a:pt x="61" y="618"/>
                </a:lnTo>
                <a:lnTo>
                  <a:pt x="68" y="621"/>
                </a:lnTo>
                <a:lnTo>
                  <a:pt x="75" y="625"/>
                </a:lnTo>
                <a:lnTo>
                  <a:pt x="82" y="628"/>
                </a:lnTo>
                <a:lnTo>
                  <a:pt x="89" y="632"/>
                </a:lnTo>
                <a:lnTo>
                  <a:pt x="96" y="637"/>
                </a:lnTo>
                <a:lnTo>
                  <a:pt x="103" y="641"/>
                </a:lnTo>
                <a:lnTo>
                  <a:pt x="111" y="646"/>
                </a:lnTo>
                <a:lnTo>
                  <a:pt x="118" y="651"/>
                </a:lnTo>
                <a:lnTo>
                  <a:pt x="125" y="657"/>
                </a:lnTo>
                <a:lnTo>
                  <a:pt x="133" y="663"/>
                </a:lnTo>
                <a:lnTo>
                  <a:pt x="141" y="669"/>
                </a:lnTo>
                <a:lnTo>
                  <a:pt x="148" y="675"/>
                </a:lnTo>
                <a:lnTo>
                  <a:pt x="156" y="682"/>
                </a:lnTo>
                <a:lnTo>
                  <a:pt x="164" y="689"/>
                </a:lnTo>
                <a:lnTo>
                  <a:pt x="172" y="696"/>
                </a:lnTo>
                <a:lnTo>
                  <a:pt x="179" y="704"/>
                </a:lnTo>
                <a:lnTo>
                  <a:pt x="187" y="711"/>
                </a:lnTo>
                <a:lnTo>
                  <a:pt x="194" y="719"/>
                </a:lnTo>
                <a:lnTo>
                  <a:pt x="201" y="727"/>
                </a:lnTo>
                <a:lnTo>
                  <a:pt x="208" y="734"/>
                </a:lnTo>
                <a:lnTo>
                  <a:pt x="214" y="742"/>
                </a:lnTo>
                <a:lnTo>
                  <a:pt x="220" y="750"/>
                </a:lnTo>
                <a:lnTo>
                  <a:pt x="226" y="758"/>
                </a:lnTo>
                <a:lnTo>
                  <a:pt x="232" y="765"/>
                </a:lnTo>
                <a:lnTo>
                  <a:pt x="237" y="773"/>
                </a:lnTo>
                <a:lnTo>
                  <a:pt x="242" y="781"/>
                </a:lnTo>
                <a:lnTo>
                  <a:pt x="247" y="789"/>
                </a:lnTo>
                <a:lnTo>
                  <a:pt x="251" y="797"/>
                </a:lnTo>
                <a:lnTo>
                  <a:pt x="256" y="805"/>
                </a:lnTo>
                <a:lnTo>
                  <a:pt x="259" y="813"/>
                </a:lnTo>
                <a:lnTo>
                  <a:pt x="263" y="821"/>
                </a:lnTo>
                <a:lnTo>
                  <a:pt x="267" y="829"/>
                </a:lnTo>
                <a:lnTo>
                  <a:pt x="270" y="836"/>
                </a:lnTo>
                <a:lnTo>
                  <a:pt x="273" y="843"/>
                </a:lnTo>
                <a:lnTo>
                  <a:pt x="275" y="850"/>
                </a:lnTo>
                <a:lnTo>
                  <a:pt x="278" y="855"/>
                </a:lnTo>
                <a:lnTo>
                  <a:pt x="280" y="861"/>
                </a:lnTo>
                <a:lnTo>
                  <a:pt x="282" y="865"/>
                </a:lnTo>
                <a:lnTo>
                  <a:pt x="284" y="870"/>
                </a:lnTo>
                <a:lnTo>
                  <a:pt x="286" y="874"/>
                </a:lnTo>
                <a:lnTo>
                  <a:pt x="287" y="877"/>
                </a:lnTo>
                <a:lnTo>
                  <a:pt x="289" y="880"/>
                </a:lnTo>
                <a:lnTo>
                  <a:pt x="290" y="882"/>
                </a:lnTo>
                <a:lnTo>
                  <a:pt x="290" y="884"/>
                </a:lnTo>
                <a:lnTo>
                  <a:pt x="291" y="885"/>
                </a:lnTo>
                <a:lnTo>
                  <a:pt x="291" y="886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8" name="Freeform 4"/>
          <p:cNvSpPr>
            <a:spLocks noChangeAspect="1"/>
          </p:cNvSpPr>
          <p:nvPr/>
        </p:nvSpPr>
        <p:spPr bwMode="auto">
          <a:xfrm>
            <a:off x="4889762" y="3197764"/>
            <a:ext cx="1535371" cy="2000112"/>
          </a:xfrm>
          <a:custGeom>
            <a:avLst/>
            <a:gdLst>
              <a:gd name="T0" fmla="*/ 277802891 w 853"/>
              <a:gd name="T1" fmla="*/ 1804385256 h 1132"/>
              <a:gd name="T2" fmla="*/ 223596964 w 853"/>
              <a:gd name="T3" fmla="*/ 1729908628 h 1132"/>
              <a:gd name="T4" fmla="*/ 128737615 w 853"/>
              <a:gd name="T5" fmla="*/ 1597879036 h 1132"/>
              <a:gd name="T6" fmla="*/ 47430610 w 853"/>
              <a:gd name="T7" fmla="*/ 1482778627 h 1132"/>
              <a:gd name="T8" fmla="*/ 3388558 w 853"/>
              <a:gd name="T9" fmla="*/ 1425227502 h 1132"/>
              <a:gd name="T10" fmla="*/ 3388558 w 853"/>
              <a:gd name="T11" fmla="*/ 1448925782 h 1132"/>
              <a:gd name="T12" fmla="*/ 27102941 w 853"/>
              <a:gd name="T13" fmla="*/ 1689284846 h 1132"/>
              <a:gd name="T14" fmla="*/ 77920275 w 853"/>
              <a:gd name="T15" fmla="*/ 2147483647 h 1132"/>
              <a:gd name="T16" fmla="*/ 135512888 w 853"/>
              <a:gd name="T17" fmla="*/ 2147483647 h 1132"/>
              <a:gd name="T18" fmla="*/ 169391096 w 853"/>
              <a:gd name="T19" fmla="*/ 2147483647 h 1132"/>
              <a:gd name="T20" fmla="*/ 179554926 w 853"/>
              <a:gd name="T21" fmla="*/ 2147483647 h 1132"/>
              <a:gd name="T22" fmla="*/ 328620202 w 853"/>
              <a:gd name="T23" fmla="*/ 2147483647 h 1132"/>
              <a:gd name="T24" fmla="*/ 694505328 w 853"/>
              <a:gd name="T25" fmla="*/ 2147483647 h 1132"/>
              <a:gd name="T26" fmla="*/ 1226396732 w 853"/>
              <a:gd name="T27" fmla="*/ 2147483647 h 1132"/>
              <a:gd name="T28" fmla="*/ 1592281743 w 853"/>
              <a:gd name="T29" fmla="*/ 2147483647 h 1132"/>
              <a:gd name="T30" fmla="*/ 1741346961 w 853"/>
              <a:gd name="T31" fmla="*/ 2147483647 h 1132"/>
              <a:gd name="T32" fmla="*/ 1727796415 w 853"/>
              <a:gd name="T33" fmla="*/ 2147483647 h 1132"/>
              <a:gd name="T34" fmla="*/ 1673590546 w 853"/>
              <a:gd name="T35" fmla="*/ 2147483647 h 1132"/>
              <a:gd name="T36" fmla="*/ 1575342639 w 853"/>
              <a:gd name="T37" fmla="*/ 2147483647 h 1132"/>
              <a:gd name="T38" fmla="*/ 1490647120 w 853"/>
              <a:gd name="T39" fmla="*/ 2147483647 h 1132"/>
              <a:gd name="T40" fmla="*/ 1449993639 w 853"/>
              <a:gd name="T41" fmla="*/ 2147483647 h 1132"/>
              <a:gd name="T42" fmla="*/ 1453382196 w 853"/>
              <a:gd name="T43" fmla="*/ 2147483647 h 1132"/>
              <a:gd name="T44" fmla="*/ 1514361497 w 853"/>
              <a:gd name="T45" fmla="*/ 2147483647 h 1132"/>
              <a:gd name="T46" fmla="*/ 1643099055 w 853"/>
              <a:gd name="T47" fmla="*/ 2147483647 h 1132"/>
              <a:gd name="T48" fmla="*/ 1812491934 w 853"/>
              <a:gd name="T49" fmla="*/ 2147483647 h 1132"/>
              <a:gd name="T50" fmla="*/ 1988660546 w 853"/>
              <a:gd name="T51" fmla="*/ 2147483647 h 1132"/>
              <a:gd name="T52" fmla="*/ 2147483647 w 853"/>
              <a:gd name="T53" fmla="*/ 2147483647 h 1132"/>
              <a:gd name="T54" fmla="*/ 2147483647 w 853"/>
              <a:gd name="T55" fmla="*/ 2147483647 h 1132"/>
              <a:gd name="T56" fmla="*/ 2147483647 w 853"/>
              <a:gd name="T57" fmla="*/ 2147483647 h 1132"/>
              <a:gd name="T58" fmla="*/ 2147483647 w 853"/>
              <a:gd name="T59" fmla="*/ 1875478254 h 1132"/>
              <a:gd name="T60" fmla="*/ 2147483647 w 853"/>
              <a:gd name="T61" fmla="*/ 1557255254 h 1132"/>
              <a:gd name="T62" fmla="*/ 2147483647 w 853"/>
              <a:gd name="T63" fmla="*/ 1218721283 h 1132"/>
              <a:gd name="T64" fmla="*/ 2147483647 w 853"/>
              <a:gd name="T65" fmla="*/ 880188922 h 1132"/>
              <a:gd name="T66" fmla="*/ 2147483647 w 853"/>
              <a:gd name="T67" fmla="*/ 572122328 h 1132"/>
              <a:gd name="T68" fmla="*/ 2147483647 w 853"/>
              <a:gd name="T69" fmla="*/ 304681241 h 1132"/>
              <a:gd name="T70" fmla="*/ 2147483647 w 853"/>
              <a:gd name="T71" fmla="*/ 108331341 h 1132"/>
              <a:gd name="T72" fmla="*/ 2147483647 w 853"/>
              <a:gd name="T73" fmla="*/ 10156409 h 1132"/>
              <a:gd name="T74" fmla="*/ 2147483647 w 853"/>
              <a:gd name="T75" fmla="*/ 13541878 h 1132"/>
              <a:gd name="T76" fmla="*/ 2147483647 w 853"/>
              <a:gd name="T77" fmla="*/ 128642341 h 1132"/>
              <a:gd name="T78" fmla="*/ 2147483647 w 853"/>
              <a:gd name="T79" fmla="*/ 358845057 h 1132"/>
              <a:gd name="T80" fmla="*/ 2147483647 w 853"/>
              <a:gd name="T81" fmla="*/ 626287984 h 1132"/>
              <a:gd name="T82" fmla="*/ 2141112481 w 853"/>
              <a:gd name="T83" fmla="*/ 782014016 h 1132"/>
              <a:gd name="T84" fmla="*/ 2103845716 w 853"/>
              <a:gd name="T85" fmla="*/ 822637798 h 1132"/>
              <a:gd name="T86" fmla="*/ 1992047263 w 853"/>
              <a:gd name="T87" fmla="*/ 798939518 h 1132"/>
              <a:gd name="T88" fmla="*/ 1714244027 w 853"/>
              <a:gd name="T89" fmla="*/ 741388394 h 1132"/>
              <a:gd name="T90" fmla="*/ 1314480808 w 853"/>
              <a:gd name="T91" fmla="*/ 656755361 h 1132"/>
              <a:gd name="T92" fmla="*/ 1040064749 w 853"/>
              <a:gd name="T93" fmla="*/ 599204236 h 1132"/>
              <a:gd name="T94" fmla="*/ 928266066 w 853"/>
              <a:gd name="T95" fmla="*/ 575507797 h 1132"/>
              <a:gd name="T96" fmla="*/ 924879349 w 853"/>
              <a:gd name="T97" fmla="*/ 599204236 h 1132"/>
              <a:gd name="T98" fmla="*/ 914715519 w 853"/>
              <a:gd name="T99" fmla="*/ 687224577 h 1132"/>
              <a:gd name="T100" fmla="*/ 894387858 w 853"/>
              <a:gd name="T101" fmla="*/ 842948769 h 1132"/>
              <a:gd name="T102" fmla="*/ 857122934 w 853"/>
              <a:gd name="T103" fmla="*/ 1018987841 h 1132"/>
              <a:gd name="T104" fmla="*/ 796141792 w 853"/>
              <a:gd name="T105" fmla="*/ 1195024844 h 1132"/>
              <a:gd name="T106" fmla="*/ 711446273 w 853"/>
              <a:gd name="T107" fmla="*/ 1367676378 h 1132"/>
              <a:gd name="T108" fmla="*/ 606423093 w 853"/>
              <a:gd name="T109" fmla="*/ 1520016941 h 1132"/>
              <a:gd name="T110" fmla="*/ 487847525 w 853"/>
              <a:gd name="T111" fmla="*/ 1648659224 h 1132"/>
              <a:gd name="T112" fmla="*/ 376048957 w 853"/>
              <a:gd name="T113" fmla="*/ 1750221439 h 1132"/>
              <a:gd name="T114" fmla="*/ 308292541 w 853"/>
              <a:gd name="T115" fmla="*/ 1807770724 h 1132"/>
              <a:gd name="T116" fmla="*/ 291353437 w 853"/>
              <a:gd name="T117" fmla="*/ 1824698067 h 113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853"/>
              <a:gd name="T178" fmla="*/ 0 h 1132"/>
              <a:gd name="T179" fmla="*/ 853 w 853"/>
              <a:gd name="T180" fmla="*/ 1132 h 113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853" h="1132">
                <a:moveTo>
                  <a:pt x="86" y="539"/>
                </a:moveTo>
                <a:lnTo>
                  <a:pt x="86" y="539"/>
                </a:lnTo>
                <a:lnTo>
                  <a:pt x="86" y="538"/>
                </a:lnTo>
                <a:lnTo>
                  <a:pt x="85" y="537"/>
                </a:lnTo>
                <a:lnTo>
                  <a:pt x="84" y="535"/>
                </a:lnTo>
                <a:lnTo>
                  <a:pt x="82" y="533"/>
                </a:lnTo>
                <a:lnTo>
                  <a:pt x="80" y="530"/>
                </a:lnTo>
                <a:lnTo>
                  <a:pt x="78" y="527"/>
                </a:lnTo>
                <a:lnTo>
                  <a:pt x="76" y="524"/>
                </a:lnTo>
                <a:lnTo>
                  <a:pt x="73" y="520"/>
                </a:lnTo>
                <a:lnTo>
                  <a:pt x="70" y="515"/>
                </a:lnTo>
                <a:lnTo>
                  <a:pt x="66" y="511"/>
                </a:lnTo>
                <a:lnTo>
                  <a:pt x="62" y="505"/>
                </a:lnTo>
                <a:lnTo>
                  <a:pt x="58" y="499"/>
                </a:lnTo>
                <a:lnTo>
                  <a:pt x="53" y="493"/>
                </a:lnTo>
                <a:lnTo>
                  <a:pt x="48" y="486"/>
                </a:lnTo>
                <a:lnTo>
                  <a:pt x="43" y="479"/>
                </a:lnTo>
                <a:lnTo>
                  <a:pt x="38" y="472"/>
                </a:lnTo>
                <a:lnTo>
                  <a:pt x="33" y="465"/>
                </a:lnTo>
                <a:lnTo>
                  <a:pt x="29" y="459"/>
                </a:lnTo>
                <a:lnTo>
                  <a:pt x="24" y="453"/>
                </a:lnTo>
                <a:lnTo>
                  <a:pt x="20" y="447"/>
                </a:lnTo>
                <a:lnTo>
                  <a:pt x="17" y="443"/>
                </a:lnTo>
                <a:lnTo>
                  <a:pt x="14" y="438"/>
                </a:lnTo>
                <a:lnTo>
                  <a:pt x="11" y="434"/>
                </a:lnTo>
                <a:lnTo>
                  <a:pt x="8" y="431"/>
                </a:lnTo>
                <a:lnTo>
                  <a:pt x="6" y="428"/>
                </a:lnTo>
                <a:lnTo>
                  <a:pt x="4" y="425"/>
                </a:lnTo>
                <a:lnTo>
                  <a:pt x="3" y="423"/>
                </a:lnTo>
                <a:lnTo>
                  <a:pt x="1" y="421"/>
                </a:lnTo>
                <a:lnTo>
                  <a:pt x="1" y="420"/>
                </a:lnTo>
                <a:lnTo>
                  <a:pt x="0" y="419"/>
                </a:lnTo>
                <a:lnTo>
                  <a:pt x="0" y="420"/>
                </a:lnTo>
                <a:lnTo>
                  <a:pt x="0" y="423"/>
                </a:lnTo>
                <a:lnTo>
                  <a:pt x="1" y="428"/>
                </a:lnTo>
                <a:lnTo>
                  <a:pt x="2" y="435"/>
                </a:lnTo>
                <a:lnTo>
                  <a:pt x="3" y="444"/>
                </a:lnTo>
                <a:lnTo>
                  <a:pt x="4" y="455"/>
                </a:lnTo>
                <a:lnTo>
                  <a:pt x="5" y="467"/>
                </a:lnTo>
                <a:lnTo>
                  <a:pt x="7" y="482"/>
                </a:lnTo>
                <a:lnTo>
                  <a:pt x="8" y="499"/>
                </a:lnTo>
                <a:lnTo>
                  <a:pt x="10" y="517"/>
                </a:lnTo>
                <a:lnTo>
                  <a:pt x="12" y="538"/>
                </a:lnTo>
                <a:lnTo>
                  <a:pt x="15" y="561"/>
                </a:lnTo>
                <a:lnTo>
                  <a:pt x="17" y="585"/>
                </a:lnTo>
                <a:lnTo>
                  <a:pt x="20" y="612"/>
                </a:lnTo>
                <a:lnTo>
                  <a:pt x="23" y="640"/>
                </a:lnTo>
                <a:lnTo>
                  <a:pt x="26" y="671"/>
                </a:lnTo>
                <a:lnTo>
                  <a:pt x="29" y="701"/>
                </a:lnTo>
                <a:lnTo>
                  <a:pt x="32" y="729"/>
                </a:lnTo>
                <a:lnTo>
                  <a:pt x="35" y="756"/>
                </a:lnTo>
                <a:lnTo>
                  <a:pt x="38" y="781"/>
                </a:lnTo>
                <a:lnTo>
                  <a:pt x="40" y="803"/>
                </a:lnTo>
                <a:lnTo>
                  <a:pt x="42" y="824"/>
                </a:lnTo>
                <a:lnTo>
                  <a:pt x="44" y="842"/>
                </a:lnTo>
                <a:lnTo>
                  <a:pt x="46" y="859"/>
                </a:lnTo>
                <a:lnTo>
                  <a:pt x="47" y="874"/>
                </a:lnTo>
                <a:lnTo>
                  <a:pt x="49" y="887"/>
                </a:lnTo>
                <a:lnTo>
                  <a:pt x="50" y="897"/>
                </a:lnTo>
                <a:lnTo>
                  <a:pt x="51" y="906"/>
                </a:lnTo>
                <a:lnTo>
                  <a:pt x="51" y="913"/>
                </a:lnTo>
                <a:lnTo>
                  <a:pt x="52" y="918"/>
                </a:lnTo>
                <a:lnTo>
                  <a:pt x="52" y="921"/>
                </a:lnTo>
                <a:lnTo>
                  <a:pt x="52" y="922"/>
                </a:lnTo>
                <a:lnTo>
                  <a:pt x="53" y="922"/>
                </a:lnTo>
                <a:lnTo>
                  <a:pt x="56" y="924"/>
                </a:lnTo>
                <a:lnTo>
                  <a:pt x="60" y="926"/>
                </a:lnTo>
                <a:lnTo>
                  <a:pt x="67" y="928"/>
                </a:lnTo>
                <a:lnTo>
                  <a:pt x="75" y="932"/>
                </a:lnTo>
                <a:lnTo>
                  <a:pt x="85" y="937"/>
                </a:lnTo>
                <a:lnTo>
                  <a:pt x="97" y="942"/>
                </a:lnTo>
                <a:lnTo>
                  <a:pt x="110" y="948"/>
                </a:lnTo>
                <a:lnTo>
                  <a:pt x="125" y="955"/>
                </a:lnTo>
                <a:lnTo>
                  <a:pt x="143" y="963"/>
                </a:lnTo>
                <a:lnTo>
                  <a:pt x="162" y="971"/>
                </a:lnTo>
                <a:lnTo>
                  <a:pt x="182" y="981"/>
                </a:lnTo>
                <a:lnTo>
                  <a:pt x="205" y="991"/>
                </a:lnTo>
                <a:lnTo>
                  <a:pt x="229" y="1002"/>
                </a:lnTo>
                <a:lnTo>
                  <a:pt x="255" y="1014"/>
                </a:lnTo>
                <a:lnTo>
                  <a:pt x="283" y="1026"/>
                </a:lnTo>
                <a:lnTo>
                  <a:pt x="311" y="1039"/>
                </a:lnTo>
                <a:lnTo>
                  <a:pt x="338" y="1051"/>
                </a:lnTo>
                <a:lnTo>
                  <a:pt x="362" y="1062"/>
                </a:lnTo>
                <a:lnTo>
                  <a:pt x="385" y="1072"/>
                </a:lnTo>
                <a:lnTo>
                  <a:pt x="405" y="1081"/>
                </a:lnTo>
                <a:lnTo>
                  <a:pt x="424" y="1090"/>
                </a:lnTo>
                <a:lnTo>
                  <a:pt x="442" y="1098"/>
                </a:lnTo>
                <a:lnTo>
                  <a:pt x="457" y="1105"/>
                </a:lnTo>
                <a:lnTo>
                  <a:pt x="470" y="1111"/>
                </a:lnTo>
                <a:lnTo>
                  <a:pt x="482" y="1116"/>
                </a:lnTo>
                <a:lnTo>
                  <a:pt x="492" y="1121"/>
                </a:lnTo>
                <a:lnTo>
                  <a:pt x="500" y="1124"/>
                </a:lnTo>
                <a:lnTo>
                  <a:pt x="507" y="1127"/>
                </a:lnTo>
                <a:lnTo>
                  <a:pt x="511" y="1129"/>
                </a:lnTo>
                <a:lnTo>
                  <a:pt x="514" y="1130"/>
                </a:lnTo>
                <a:lnTo>
                  <a:pt x="515" y="1131"/>
                </a:lnTo>
                <a:lnTo>
                  <a:pt x="514" y="1130"/>
                </a:lnTo>
                <a:lnTo>
                  <a:pt x="513" y="1129"/>
                </a:lnTo>
                <a:lnTo>
                  <a:pt x="512" y="1127"/>
                </a:lnTo>
                <a:lnTo>
                  <a:pt x="510" y="1125"/>
                </a:lnTo>
                <a:lnTo>
                  <a:pt x="509" y="1122"/>
                </a:lnTo>
                <a:lnTo>
                  <a:pt x="506" y="1119"/>
                </a:lnTo>
                <a:lnTo>
                  <a:pt x="504" y="1116"/>
                </a:lnTo>
                <a:lnTo>
                  <a:pt x="501" y="1112"/>
                </a:lnTo>
                <a:lnTo>
                  <a:pt x="497" y="1107"/>
                </a:lnTo>
                <a:lnTo>
                  <a:pt x="494" y="1102"/>
                </a:lnTo>
                <a:lnTo>
                  <a:pt x="490" y="1097"/>
                </a:lnTo>
                <a:lnTo>
                  <a:pt x="486" y="1091"/>
                </a:lnTo>
                <a:lnTo>
                  <a:pt x="481" y="1084"/>
                </a:lnTo>
                <a:lnTo>
                  <a:pt x="476" y="1077"/>
                </a:lnTo>
                <a:lnTo>
                  <a:pt x="470" y="1070"/>
                </a:lnTo>
                <a:lnTo>
                  <a:pt x="465" y="1063"/>
                </a:lnTo>
                <a:lnTo>
                  <a:pt x="460" y="1056"/>
                </a:lnTo>
                <a:lnTo>
                  <a:pt x="455" y="1049"/>
                </a:lnTo>
                <a:lnTo>
                  <a:pt x="451" y="1043"/>
                </a:lnTo>
                <a:lnTo>
                  <a:pt x="447" y="1038"/>
                </a:lnTo>
                <a:lnTo>
                  <a:pt x="444" y="1033"/>
                </a:lnTo>
                <a:lnTo>
                  <a:pt x="440" y="1028"/>
                </a:lnTo>
                <a:lnTo>
                  <a:pt x="437" y="1024"/>
                </a:lnTo>
                <a:lnTo>
                  <a:pt x="435" y="1021"/>
                </a:lnTo>
                <a:lnTo>
                  <a:pt x="432" y="1018"/>
                </a:lnTo>
                <a:lnTo>
                  <a:pt x="431" y="1015"/>
                </a:lnTo>
                <a:lnTo>
                  <a:pt x="429" y="1013"/>
                </a:lnTo>
                <a:lnTo>
                  <a:pt x="428" y="1011"/>
                </a:lnTo>
                <a:lnTo>
                  <a:pt x="427" y="1010"/>
                </a:lnTo>
                <a:lnTo>
                  <a:pt x="426" y="1009"/>
                </a:lnTo>
                <a:lnTo>
                  <a:pt x="427" y="1009"/>
                </a:lnTo>
                <a:lnTo>
                  <a:pt x="427" y="1008"/>
                </a:lnTo>
                <a:lnTo>
                  <a:pt x="429" y="1007"/>
                </a:lnTo>
                <a:lnTo>
                  <a:pt x="430" y="1006"/>
                </a:lnTo>
                <a:lnTo>
                  <a:pt x="433" y="1004"/>
                </a:lnTo>
                <a:lnTo>
                  <a:pt x="436" y="1002"/>
                </a:lnTo>
                <a:lnTo>
                  <a:pt x="439" y="999"/>
                </a:lnTo>
                <a:lnTo>
                  <a:pt x="443" y="996"/>
                </a:lnTo>
                <a:lnTo>
                  <a:pt x="447" y="993"/>
                </a:lnTo>
                <a:lnTo>
                  <a:pt x="452" y="989"/>
                </a:lnTo>
                <a:lnTo>
                  <a:pt x="458" y="985"/>
                </a:lnTo>
                <a:lnTo>
                  <a:pt x="464" y="980"/>
                </a:lnTo>
                <a:lnTo>
                  <a:pt x="470" y="975"/>
                </a:lnTo>
                <a:lnTo>
                  <a:pt x="477" y="970"/>
                </a:lnTo>
                <a:lnTo>
                  <a:pt x="485" y="964"/>
                </a:lnTo>
                <a:lnTo>
                  <a:pt x="493" y="957"/>
                </a:lnTo>
                <a:lnTo>
                  <a:pt x="501" y="951"/>
                </a:lnTo>
                <a:lnTo>
                  <a:pt x="509" y="944"/>
                </a:lnTo>
                <a:lnTo>
                  <a:pt x="518" y="937"/>
                </a:lnTo>
                <a:lnTo>
                  <a:pt x="526" y="929"/>
                </a:lnTo>
                <a:lnTo>
                  <a:pt x="535" y="921"/>
                </a:lnTo>
                <a:lnTo>
                  <a:pt x="543" y="913"/>
                </a:lnTo>
                <a:lnTo>
                  <a:pt x="552" y="904"/>
                </a:lnTo>
                <a:lnTo>
                  <a:pt x="561" y="895"/>
                </a:lnTo>
                <a:lnTo>
                  <a:pt x="569" y="885"/>
                </a:lnTo>
                <a:lnTo>
                  <a:pt x="578" y="876"/>
                </a:lnTo>
                <a:lnTo>
                  <a:pt x="587" y="866"/>
                </a:lnTo>
                <a:lnTo>
                  <a:pt x="596" y="855"/>
                </a:lnTo>
                <a:lnTo>
                  <a:pt x="605" y="845"/>
                </a:lnTo>
                <a:lnTo>
                  <a:pt x="614" y="834"/>
                </a:lnTo>
                <a:lnTo>
                  <a:pt x="623" y="822"/>
                </a:lnTo>
                <a:lnTo>
                  <a:pt x="632" y="810"/>
                </a:lnTo>
                <a:lnTo>
                  <a:pt x="641" y="798"/>
                </a:lnTo>
                <a:lnTo>
                  <a:pt x="650" y="786"/>
                </a:lnTo>
                <a:lnTo>
                  <a:pt x="659" y="774"/>
                </a:lnTo>
                <a:lnTo>
                  <a:pt x="668" y="761"/>
                </a:lnTo>
                <a:lnTo>
                  <a:pt x="676" y="749"/>
                </a:lnTo>
                <a:lnTo>
                  <a:pt x="685" y="736"/>
                </a:lnTo>
                <a:lnTo>
                  <a:pt x="693" y="723"/>
                </a:lnTo>
                <a:lnTo>
                  <a:pt x="701" y="710"/>
                </a:lnTo>
                <a:lnTo>
                  <a:pt x="709" y="697"/>
                </a:lnTo>
                <a:lnTo>
                  <a:pt x="716" y="683"/>
                </a:lnTo>
                <a:lnTo>
                  <a:pt x="724" y="669"/>
                </a:lnTo>
                <a:lnTo>
                  <a:pt x="731" y="656"/>
                </a:lnTo>
                <a:lnTo>
                  <a:pt x="738" y="642"/>
                </a:lnTo>
                <a:lnTo>
                  <a:pt x="745" y="627"/>
                </a:lnTo>
                <a:lnTo>
                  <a:pt x="752" y="613"/>
                </a:lnTo>
                <a:lnTo>
                  <a:pt x="759" y="599"/>
                </a:lnTo>
                <a:lnTo>
                  <a:pt x="766" y="584"/>
                </a:lnTo>
                <a:lnTo>
                  <a:pt x="772" y="569"/>
                </a:lnTo>
                <a:lnTo>
                  <a:pt x="778" y="554"/>
                </a:lnTo>
                <a:lnTo>
                  <a:pt x="784" y="539"/>
                </a:lnTo>
                <a:lnTo>
                  <a:pt x="789" y="524"/>
                </a:lnTo>
                <a:lnTo>
                  <a:pt x="795" y="508"/>
                </a:lnTo>
                <a:lnTo>
                  <a:pt x="800" y="492"/>
                </a:lnTo>
                <a:lnTo>
                  <a:pt x="805" y="476"/>
                </a:lnTo>
                <a:lnTo>
                  <a:pt x="809" y="460"/>
                </a:lnTo>
                <a:lnTo>
                  <a:pt x="814" y="444"/>
                </a:lnTo>
                <a:lnTo>
                  <a:pt x="818" y="428"/>
                </a:lnTo>
                <a:lnTo>
                  <a:pt x="822" y="411"/>
                </a:lnTo>
                <a:lnTo>
                  <a:pt x="826" y="394"/>
                </a:lnTo>
                <a:lnTo>
                  <a:pt x="829" y="378"/>
                </a:lnTo>
                <a:lnTo>
                  <a:pt x="832" y="360"/>
                </a:lnTo>
                <a:lnTo>
                  <a:pt x="835" y="343"/>
                </a:lnTo>
                <a:lnTo>
                  <a:pt x="838" y="326"/>
                </a:lnTo>
                <a:lnTo>
                  <a:pt x="841" y="309"/>
                </a:lnTo>
                <a:lnTo>
                  <a:pt x="843" y="292"/>
                </a:lnTo>
                <a:lnTo>
                  <a:pt x="845" y="276"/>
                </a:lnTo>
                <a:lnTo>
                  <a:pt x="847" y="260"/>
                </a:lnTo>
                <a:lnTo>
                  <a:pt x="848" y="244"/>
                </a:lnTo>
                <a:lnTo>
                  <a:pt x="849" y="229"/>
                </a:lnTo>
                <a:lnTo>
                  <a:pt x="850" y="213"/>
                </a:lnTo>
                <a:lnTo>
                  <a:pt x="851" y="198"/>
                </a:lnTo>
                <a:lnTo>
                  <a:pt x="851" y="184"/>
                </a:lnTo>
                <a:lnTo>
                  <a:pt x="852" y="169"/>
                </a:lnTo>
                <a:lnTo>
                  <a:pt x="851" y="155"/>
                </a:lnTo>
                <a:lnTo>
                  <a:pt x="851" y="142"/>
                </a:lnTo>
                <a:lnTo>
                  <a:pt x="851" y="128"/>
                </a:lnTo>
                <a:lnTo>
                  <a:pt x="850" y="115"/>
                </a:lnTo>
                <a:lnTo>
                  <a:pt x="849" y="102"/>
                </a:lnTo>
                <a:lnTo>
                  <a:pt x="847" y="90"/>
                </a:lnTo>
                <a:lnTo>
                  <a:pt x="846" y="78"/>
                </a:lnTo>
                <a:lnTo>
                  <a:pt x="845" y="67"/>
                </a:lnTo>
                <a:lnTo>
                  <a:pt x="844" y="57"/>
                </a:lnTo>
                <a:lnTo>
                  <a:pt x="843" y="48"/>
                </a:lnTo>
                <a:lnTo>
                  <a:pt x="842" y="40"/>
                </a:lnTo>
                <a:lnTo>
                  <a:pt x="842" y="32"/>
                </a:lnTo>
                <a:lnTo>
                  <a:pt x="841" y="25"/>
                </a:lnTo>
                <a:lnTo>
                  <a:pt x="840" y="19"/>
                </a:lnTo>
                <a:lnTo>
                  <a:pt x="840" y="14"/>
                </a:lnTo>
                <a:lnTo>
                  <a:pt x="839" y="10"/>
                </a:lnTo>
                <a:lnTo>
                  <a:pt x="839" y="6"/>
                </a:lnTo>
                <a:lnTo>
                  <a:pt x="839" y="3"/>
                </a:lnTo>
                <a:lnTo>
                  <a:pt x="839" y="1"/>
                </a:lnTo>
                <a:lnTo>
                  <a:pt x="838" y="0"/>
                </a:lnTo>
                <a:lnTo>
                  <a:pt x="837" y="1"/>
                </a:lnTo>
                <a:lnTo>
                  <a:pt x="835" y="4"/>
                </a:lnTo>
                <a:lnTo>
                  <a:pt x="832" y="7"/>
                </a:lnTo>
                <a:lnTo>
                  <a:pt x="828" y="11"/>
                </a:lnTo>
                <a:lnTo>
                  <a:pt x="823" y="17"/>
                </a:lnTo>
                <a:lnTo>
                  <a:pt x="818" y="23"/>
                </a:lnTo>
                <a:lnTo>
                  <a:pt x="811" y="30"/>
                </a:lnTo>
                <a:lnTo>
                  <a:pt x="804" y="38"/>
                </a:lnTo>
                <a:lnTo>
                  <a:pt x="796" y="47"/>
                </a:lnTo>
                <a:lnTo>
                  <a:pt x="787" y="57"/>
                </a:lnTo>
                <a:lnTo>
                  <a:pt x="777" y="68"/>
                </a:lnTo>
                <a:lnTo>
                  <a:pt x="767" y="80"/>
                </a:lnTo>
                <a:lnTo>
                  <a:pt x="755" y="93"/>
                </a:lnTo>
                <a:lnTo>
                  <a:pt x="743" y="106"/>
                </a:lnTo>
                <a:lnTo>
                  <a:pt x="730" y="121"/>
                </a:lnTo>
                <a:lnTo>
                  <a:pt x="717" y="136"/>
                </a:lnTo>
                <a:lnTo>
                  <a:pt x="704" y="150"/>
                </a:lnTo>
                <a:lnTo>
                  <a:pt x="693" y="163"/>
                </a:lnTo>
                <a:lnTo>
                  <a:pt x="682" y="174"/>
                </a:lnTo>
                <a:lnTo>
                  <a:pt x="673" y="185"/>
                </a:lnTo>
                <a:lnTo>
                  <a:pt x="664" y="195"/>
                </a:lnTo>
                <a:lnTo>
                  <a:pt x="656" y="204"/>
                </a:lnTo>
                <a:lnTo>
                  <a:pt x="648" y="212"/>
                </a:lnTo>
                <a:lnTo>
                  <a:pt x="642" y="220"/>
                </a:lnTo>
                <a:lnTo>
                  <a:pt x="637" y="226"/>
                </a:lnTo>
                <a:lnTo>
                  <a:pt x="632" y="231"/>
                </a:lnTo>
                <a:lnTo>
                  <a:pt x="628" y="235"/>
                </a:lnTo>
                <a:lnTo>
                  <a:pt x="625" y="239"/>
                </a:lnTo>
                <a:lnTo>
                  <a:pt x="623" y="241"/>
                </a:lnTo>
                <a:lnTo>
                  <a:pt x="622" y="242"/>
                </a:lnTo>
                <a:lnTo>
                  <a:pt x="621" y="243"/>
                </a:lnTo>
                <a:lnTo>
                  <a:pt x="619" y="242"/>
                </a:lnTo>
                <a:lnTo>
                  <a:pt x="615" y="242"/>
                </a:lnTo>
                <a:lnTo>
                  <a:pt x="610" y="241"/>
                </a:lnTo>
                <a:lnTo>
                  <a:pt x="604" y="239"/>
                </a:lnTo>
                <a:lnTo>
                  <a:pt x="597" y="238"/>
                </a:lnTo>
                <a:lnTo>
                  <a:pt x="588" y="236"/>
                </a:lnTo>
                <a:lnTo>
                  <a:pt x="578" y="234"/>
                </a:lnTo>
                <a:lnTo>
                  <a:pt x="566" y="231"/>
                </a:lnTo>
                <a:lnTo>
                  <a:pt x="553" y="229"/>
                </a:lnTo>
                <a:lnTo>
                  <a:pt x="539" y="226"/>
                </a:lnTo>
                <a:lnTo>
                  <a:pt x="523" y="222"/>
                </a:lnTo>
                <a:lnTo>
                  <a:pt x="506" y="219"/>
                </a:lnTo>
                <a:lnTo>
                  <a:pt x="488" y="215"/>
                </a:lnTo>
                <a:lnTo>
                  <a:pt x="468" y="211"/>
                </a:lnTo>
                <a:lnTo>
                  <a:pt x="447" y="206"/>
                </a:lnTo>
                <a:lnTo>
                  <a:pt x="426" y="202"/>
                </a:lnTo>
                <a:lnTo>
                  <a:pt x="407" y="198"/>
                </a:lnTo>
                <a:lnTo>
                  <a:pt x="388" y="194"/>
                </a:lnTo>
                <a:lnTo>
                  <a:pt x="371" y="190"/>
                </a:lnTo>
                <a:lnTo>
                  <a:pt x="356" y="187"/>
                </a:lnTo>
                <a:lnTo>
                  <a:pt x="341" y="184"/>
                </a:lnTo>
                <a:lnTo>
                  <a:pt x="328" y="181"/>
                </a:lnTo>
                <a:lnTo>
                  <a:pt x="317" y="179"/>
                </a:lnTo>
                <a:lnTo>
                  <a:pt x="307" y="177"/>
                </a:lnTo>
                <a:lnTo>
                  <a:pt x="298" y="175"/>
                </a:lnTo>
                <a:lnTo>
                  <a:pt x="290" y="173"/>
                </a:lnTo>
                <a:lnTo>
                  <a:pt x="284" y="172"/>
                </a:lnTo>
                <a:lnTo>
                  <a:pt x="280" y="171"/>
                </a:lnTo>
                <a:lnTo>
                  <a:pt x="276" y="170"/>
                </a:lnTo>
                <a:lnTo>
                  <a:pt x="274" y="170"/>
                </a:lnTo>
                <a:lnTo>
                  <a:pt x="273" y="170"/>
                </a:lnTo>
                <a:lnTo>
                  <a:pt x="273" y="171"/>
                </a:lnTo>
                <a:lnTo>
                  <a:pt x="273" y="172"/>
                </a:lnTo>
                <a:lnTo>
                  <a:pt x="273" y="174"/>
                </a:lnTo>
                <a:lnTo>
                  <a:pt x="273" y="177"/>
                </a:lnTo>
                <a:lnTo>
                  <a:pt x="272" y="180"/>
                </a:lnTo>
                <a:lnTo>
                  <a:pt x="272" y="183"/>
                </a:lnTo>
                <a:lnTo>
                  <a:pt x="271" y="187"/>
                </a:lnTo>
                <a:lnTo>
                  <a:pt x="271" y="192"/>
                </a:lnTo>
                <a:lnTo>
                  <a:pt x="270" y="197"/>
                </a:lnTo>
                <a:lnTo>
                  <a:pt x="270" y="203"/>
                </a:lnTo>
                <a:lnTo>
                  <a:pt x="269" y="209"/>
                </a:lnTo>
                <a:lnTo>
                  <a:pt x="268" y="216"/>
                </a:lnTo>
                <a:lnTo>
                  <a:pt x="267" y="223"/>
                </a:lnTo>
                <a:lnTo>
                  <a:pt x="266" y="231"/>
                </a:lnTo>
                <a:lnTo>
                  <a:pt x="265" y="240"/>
                </a:lnTo>
                <a:lnTo>
                  <a:pt x="264" y="249"/>
                </a:lnTo>
                <a:lnTo>
                  <a:pt x="263" y="257"/>
                </a:lnTo>
                <a:lnTo>
                  <a:pt x="261" y="266"/>
                </a:lnTo>
                <a:lnTo>
                  <a:pt x="260" y="275"/>
                </a:lnTo>
                <a:lnTo>
                  <a:pt x="258" y="283"/>
                </a:lnTo>
                <a:lnTo>
                  <a:pt x="256" y="292"/>
                </a:lnTo>
                <a:lnTo>
                  <a:pt x="253" y="301"/>
                </a:lnTo>
                <a:lnTo>
                  <a:pt x="251" y="309"/>
                </a:lnTo>
                <a:lnTo>
                  <a:pt x="248" y="318"/>
                </a:lnTo>
                <a:lnTo>
                  <a:pt x="245" y="327"/>
                </a:lnTo>
                <a:lnTo>
                  <a:pt x="242" y="335"/>
                </a:lnTo>
                <a:lnTo>
                  <a:pt x="239" y="344"/>
                </a:lnTo>
                <a:lnTo>
                  <a:pt x="235" y="353"/>
                </a:lnTo>
                <a:lnTo>
                  <a:pt x="231" y="361"/>
                </a:lnTo>
                <a:lnTo>
                  <a:pt x="227" y="370"/>
                </a:lnTo>
                <a:lnTo>
                  <a:pt x="223" y="379"/>
                </a:lnTo>
                <a:lnTo>
                  <a:pt x="219" y="387"/>
                </a:lnTo>
                <a:lnTo>
                  <a:pt x="214" y="396"/>
                </a:lnTo>
                <a:lnTo>
                  <a:pt x="210" y="404"/>
                </a:lnTo>
                <a:lnTo>
                  <a:pt x="205" y="412"/>
                </a:lnTo>
                <a:lnTo>
                  <a:pt x="200" y="419"/>
                </a:lnTo>
                <a:lnTo>
                  <a:pt x="195" y="427"/>
                </a:lnTo>
                <a:lnTo>
                  <a:pt x="190" y="435"/>
                </a:lnTo>
                <a:lnTo>
                  <a:pt x="185" y="442"/>
                </a:lnTo>
                <a:lnTo>
                  <a:pt x="179" y="449"/>
                </a:lnTo>
                <a:lnTo>
                  <a:pt x="174" y="456"/>
                </a:lnTo>
                <a:lnTo>
                  <a:pt x="168" y="462"/>
                </a:lnTo>
                <a:lnTo>
                  <a:pt x="162" y="469"/>
                </a:lnTo>
                <a:lnTo>
                  <a:pt x="156" y="475"/>
                </a:lnTo>
                <a:lnTo>
                  <a:pt x="150" y="481"/>
                </a:lnTo>
                <a:lnTo>
                  <a:pt x="144" y="487"/>
                </a:lnTo>
                <a:lnTo>
                  <a:pt x="138" y="493"/>
                </a:lnTo>
                <a:lnTo>
                  <a:pt x="131" y="499"/>
                </a:lnTo>
                <a:lnTo>
                  <a:pt x="126" y="504"/>
                </a:lnTo>
                <a:lnTo>
                  <a:pt x="120" y="509"/>
                </a:lnTo>
                <a:lnTo>
                  <a:pt x="115" y="513"/>
                </a:lnTo>
                <a:lnTo>
                  <a:pt x="111" y="517"/>
                </a:lnTo>
                <a:lnTo>
                  <a:pt x="106" y="521"/>
                </a:lnTo>
                <a:lnTo>
                  <a:pt x="103" y="524"/>
                </a:lnTo>
                <a:lnTo>
                  <a:pt x="99" y="527"/>
                </a:lnTo>
                <a:lnTo>
                  <a:pt x="96" y="530"/>
                </a:lnTo>
                <a:lnTo>
                  <a:pt x="94" y="532"/>
                </a:lnTo>
                <a:lnTo>
                  <a:pt x="91" y="534"/>
                </a:lnTo>
                <a:lnTo>
                  <a:pt x="90" y="536"/>
                </a:lnTo>
                <a:lnTo>
                  <a:pt x="88" y="537"/>
                </a:lnTo>
                <a:lnTo>
                  <a:pt x="87" y="538"/>
                </a:lnTo>
                <a:lnTo>
                  <a:pt x="87" y="539"/>
                </a:lnTo>
                <a:lnTo>
                  <a:pt x="86" y="539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9" name="Freeform 5"/>
          <p:cNvSpPr>
            <a:spLocks noChangeAspect="1"/>
          </p:cNvSpPr>
          <p:nvPr/>
        </p:nvSpPr>
        <p:spPr bwMode="auto">
          <a:xfrm>
            <a:off x="3326448" y="3943233"/>
            <a:ext cx="2094251" cy="1394895"/>
          </a:xfrm>
          <a:custGeom>
            <a:avLst/>
            <a:gdLst>
              <a:gd name="T0" fmla="*/ 1452120160 w 1164"/>
              <a:gd name="T1" fmla="*/ 378646138 h 790"/>
              <a:gd name="T2" fmla="*/ 1506278578 w 1164"/>
              <a:gd name="T3" fmla="*/ 304269470 h 790"/>
              <a:gd name="T4" fmla="*/ 1601054429 w 1164"/>
              <a:gd name="T5" fmla="*/ 175800456 h 790"/>
              <a:gd name="T6" fmla="*/ 1682292976 w 1164"/>
              <a:gd name="T7" fmla="*/ 64234507 h 790"/>
              <a:gd name="T8" fmla="*/ 1726295655 w 1164"/>
              <a:gd name="T9" fmla="*/ 6760848 h 790"/>
              <a:gd name="T10" fmla="*/ 1702600772 w 1164"/>
              <a:gd name="T11" fmla="*/ 13523536 h 790"/>
              <a:gd name="T12" fmla="*/ 1485968941 w 1164"/>
              <a:gd name="T13" fmla="*/ 111565949 h 790"/>
              <a:gd name="T14" fmla="*/ 1049318193 w 1164"/>
              <a:gd name="T15" fmla="*/ 304269470 h 790"/>
              <a:gd name="T16" fmla="*/ 544967813 w 1164"/>
              <a:gd name="T17" fmla="*/ 530780930 h 790"/>
              <a:gd name="T18" fmla="*/ 253867813 w 1164"/>
              <a:gd name="T19" fmla="*/ 659249887 h 790"/>
              <a:gd name="T20" fmla="*/ 176014455 w 1164"/>
              <a:gd name="T21" fmla="*/ 696437301 h 790"/>
              <a:gd name="T22" fmla="*/ 162475311 w 1164"/>
              <a:gd name="T23" fmla="*/ 855334664 h 790"/>
              <a:gd name="T24" fmla="*/ 118470763 w 1164"/>
              <a:gd name="T25" fmla="*/ 1254265295 h 790"/>
              <a:gd name="T26" fmla="*/ 60928939 w 1164"/>
              <a:gd name="T27" fmla="*/ 1832375599 h 790"/>
              <a:gd name="T28" fmla="*/ 16924398 w 1164"/>
              <a:gd name="T29" fmla="*/ 2147483647 h 790"/>
              <a:gd name="T30" fmla="*/ 0 w 1164"/>
              <a:gd name="T31" fmla="*/ 2147483647 h 790"/>
              <a:gd name="T32" fmla="*/ 13539148 w 1164"/>
              <a:gd name="T33" fmla="*/ 2147483647 h 790"/>
              <a:gd name="T34" fmla="*/ 67697591 w 1164"/>
              <a:gd name="T35" fmla="*/ 2147483647 h 790"/>
              <a:gd name="T36" fmla="*/ 162475311 w 1164"/>
              <a:gd name="T37" fmla="*/ 2147483647 h 790"/>
              <a:gd name="T38" fmla="*/ 240326771 w 1164"/>
              <a:gd name="T39" fmla="*/ 2058887403 h 790"/>
              <a:gd name="T40" fmla="*/ 280946102 w 1164"/>
              <a:gd name="T41" fmla="*/ 2001413772 h 790"/>
              <a:gd name="T42" fmla="*/ 294485246 w 1164"/>
              <a:gd name="T43" fmla="*/ 1998034268 h 790"/>
              <a:gd name="T44" fmla="*/ 341875012 w 1164"/>
              <a:gd name="T45" fmla="*/ 2031840340 h 790"/>
              <a:gd name="T46" fmla="*/ 436650863 w 1164"/>
              <a:gd name="T47" fmla="*/ 2096074818 h 790"/>
              <a:gd name="T48" fmla="*/ 582201841 w 1164"/>
              <a:gd name="T49" fmla="*/ 2147483647 h 790"/>
              <a:gd name="T50" fmla="*/ 788679773 w 1164"/>
              <a:gd name="T51" fmla="*/ 2147483647 h 790"/>
              <a:gd name="T52" fmla="*/ 1049318193 w 1164"/>
              <a:gd name="T53" fmla="*/ 2147483647 h 790"/>
              <a:gd name="T54" fmla="*/ 1357342469 w 1164"/>
              <a:gd name="T55" fmla="*/ 2147483647 h 790"/>
              <a:gd name="T56" fmla="*/ 1702600772 w 1164"/>
              <a:gd name="T57" fmla="*/ 2147483647 h 790"/>
              <a:gd name="T58" fmla="*/ 2081710156 w 1164"/>
              <a:gd name="T59" fmla="*/ 2147483647 h 790"/>
              <a:gd name="T60" fmla="*/ 2147483647 w 1164"/>
              <a:gd name="T61" fmla="*/ 2147483647 h 790"/>
              <a:gd name="T62" fmla="*/ 2147483647 w 1164"/>
              <a:gd name="T63" fmla="*/ 2147483647 h 790"/>
              <a:gd name="T64" fmla="*/ 2147483647 w 1164"/>
              <a:gd name="T65" fmla="*/ 2147483647 h 790"/>
              <a:gd name="T66" fmla="*/ 2147483647 w 1164"/>
              <a:gd name="T67" fmla="*/ 2147483647 h 790"/>
              <a:gd name="T68" fmla="*/ 2147483647 w 1164"/>
              <a:gd name="T69" fmla="*/ 2147483647 h 790"/>
              <a:gd name="T70" fmla="*/ 2147483647 w 1164"/>
              <a:gd name="T71" fmla="*/ 2147483647 h 790"/>
              <a:gd name="T72" fmla="*/ 2147483647 w 1164"/>
              <a:gd name="T73" fmla="*/ 2147483647 h 790"/>
              <a:gd name="T74" fmla="*/ 2147483647 w 1164"/>
              <a:gd name="T75" fmla="*/ 2147483647 h 790"/>
              <a:gd name="T76" fmla="*/ 2147483647 w 1164"/>
              <a:gd name="T77" fmla="*/ 2147483647 h 790"/>
              <a:gd name="T78" fmla="*/ 2147483647 w 1164"/>
              <a:gd name="T79" fmla="*/ 2072410935 h 790"/>
              <a:gd name="T80" fmla="*/ 2147483647 w 1164"/>
              <a:gd name="T81" fmla="*/ 1930418447 h 790"/>
              <a:gd name="T82" fmla="*/ 2147483647 w 1164"/>
              <a:gd name="T83" fmla="*/ 1845899131 h 790"/>
              <a:gd name="T84" fmla="*/ 2147483647 w 1164"/>
              <a:gd name="T85" fmla="*/ 1822233409 h 790"/>
              <a:gd name="T86" fmla="*/ 2147483647 w 1164"/>
              <a:gd name="T87" fmla="*/ 1707286146 h 790"/>
              <a:gd name="T88" fmla="*/ 2147483647 w 1164"/>
              <a:gd name="T89" fmla="*/ 1426684351 h 790"/>
              <a:gd name="T90" fmla="*/ 2147483647 w 1164"/>
              <a:gd name="T91" fmla="*/ 1014230418 h 790"/>
              <a:gd name="T92" fmla="*/ 2147483647 w 1164"/>
              <a:gd name="T93" fmla="*/ 733626554 h 790"/>
              <a:gd name="T94" fmla="*/ 2147483647 w 1164"/>
              <a:gd name="T95" fmla="*/ 618681129 h 790"/>
              <a:gd name="T96" fmla="*/ 2147483647 w 1164"/>
              <a:gd name="T97" fmla="*/ 622060633 h 790"/>
              <a:gd name="T98" fmla="*/ 2147483647 w 1164"/>
              <a:gd name="T99" fmla="*/ 642345012 h 790"/>
              <a:gd name="T100" fmla="*/ 2147483647 w 1164"/>
              <a:gd name="T101" fmla="*/ 676152922 h 790"/>
              <a:gd name="T102" fmla="*/ 2147483647 w 1164"/>
              <a:gd name="T103" fmla="*/ 696437301 h 790"/>
              <a:gd name="T104" fmla="*/ 2147483647 w 1164"/>
              <a:gd name="T105" fmla="*/ 686295112 h 790"/>
              <a:gd name="T106" fmla="*/ 1993702958 w 1164"/>
              <a:gd name="T107" fmla="*/ 652487201 h 790"/>
              <a:gd name="T108" fmla="*/ 1804148956 w 1164"/>
              <a:gd name="T109" fmla="*/ 598394912 h 790"/>
              <a:gd name="T110" fmla="*/ 1645058949 w 1164"/>
              <a:gd name="T111" fmla="*/ 524018245 h 790"/>
              <a:gd name="T112" fmla="*/ 1523202969 w 1164"/>
              <a:gd name="T113" fmla="*/ 453022805 h 790"/>
              <a:gd name="T114" fmla="*/ 1455505406 w 1164"/>
              <a:gd name="T115" fmla="*/ 409072705 h 790"/>
              <a:gd name="T116" fmla="*/ 1438579176 w 1164"/>
              <a:gd name="T117" fmla="*/ 398930516 h 79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64"/>
              <a:gd name="T178" fmla="*/ 0 h 790"/>
              <a:gd name="T179" fmla="*/ 1164 w 1164"/>
              <a:gd name="T180" fmla="*/ 790 h 79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64" h="790">
                <a:moveTo>
                  <a:pt x="425" y="118"/>
                </a:moveTo>
                <a:lnTo>
                  <a:pt x="425" y="118"/>
                </a:lnTo>
                <a:lnTo>
                  <a:pt x="425" y="117"/>
                </a:lnTo>
                <a:lnTo>
                  <a:pt x="426" y="116"/>
                </a:lnTo>
                <a:lnTo>
                  <a:pt x="427" y="114"/>
                </a:lnTo>
                <a:lnTo>
                  <a:pt x="429" y="112"/>
                </a:lnTo>
                <a:lnTo>
                  <a:pt x="431" y="110"/>
                </a:lnTo>
                <a:lnTo>
                  <a:pt x="433" y="107"/>
                </a:lnTo>
                <a:lnTo>
                  <a:pt x="435" y="103"/>
                </a:lnTo>
                <a:lnTo>
                  <a:pt x="438" y="99"/>
                </a:lnTo>
                <a:lnTo>
                  <a:pt x="441" y="95"/>
                </a:lnTo>
                <a:lnTo>
                  <a:pt x="445" y="90"/>
                </a:lnTo>
                <a:lnTo>
                  <a:pt x="449" y="85"/>
                </a:lnTo>
                <a:lnTo>
                  <a:pt x="453" y="79"/>
                </a:lnTo>
                <a:lnTo>
                  <a:pt x="458" y="73"/>
                </a:lnTo>
                <a:lnTo>
                  <a:pt x="463" y="66"/>
                </a:lnTo>
                <a:lnTo>
                  <a:pt x="468" y="59"/>
                </a:lnTo>
                <a:lnTo>
                  <a:pt x="473" y="52"/>
                </a:lnTo>
                <a:lnTo>
                  <a:pt x="478" y="45"/>
                </a:lnTo>
                <a:lnTo>
                  <a:pt x="483" y="39"/>
                </a:lnTo>
                <a:lnTo>
                  <a:pt x="487" y="33"/>
                </a:lnTo>
                <a:lnTo>
                  <a:pt x="491" y="28"/>
                </a:lnTo>
                <a:lnTo>
                  <a:pt x="494" y="23"/>
                </a:lnTo>
                <a:lnTo>
                  <a:pt x="497" y="19"/>
                </a:lnTo>
                <a:lnTo>
                  <a:pt x="500" y="15"/>
                </a:lnTo>
                <a:lnTo>
                  <a:pt x="503" y="11"/>
                </a:lnTo>
                <a:lnTo>
                  <a:pt x="505" y="8"/>
                </a:lnTo>
                <a:lnTo>
                  <a:pt x="507" y="6"/>
                </a:lnTo>
                <a:lnTo>
                  <a:pt x="508" y="4"/>
                </a:lnTo>
                <a:lnTo>
                  <a:pt x="510" y="2"/>
                </a:lnTo>
                <a:lnTo>
                  <a:pt x="510" y="1"/>
                </a:lnTo>
                <a:lnTo>
                  <a:pt x="511" y="0"/>
                </a:lnTo>
                <a:lnTo>
                  <a:pt x="510" y="1"/>
                </a:lnTo>
                <a:lnTo>
                  <a:pt x="507" y="2"/>
                </a:lnTo>
                <a:lnTo>
                  <a:pt x="503" y="4"/>
                </a:lnTo>
                <a:lnTo>
                  <a:pt x="497" y="7"/>
                </a:lnTo>
                <a:lnTo>
                  <a:pt x="489" y="10"/>
                </a:lnTo>
                <a:lnTo>
                  <a:pt x="479" y="15"/>
                </a:lnTo>
                <a:lnTo>
                  <a:pt x="467" y="20"/>
                </a:lnTo>
                <a:lnTo>
                  <a:pt x="454" y="26"/>
                </a:lnTo>
                <a:lnTo>
                  <a:pt x="439" y="33"/>
                </a:lnTo>
                <a:lnTo>
                  <a:pt x="422" y="40"/>
                </a:lnTo>
                <a:lnTo>
                  <a:pt x="403" y="49"/>
                </a:lnTo>
                <a:lnTo>
                  <a:pt x="382" y="58"/>
                </a:lnTo>
                <a:lnTo>
                  <a:pt x="360" y="68"/>
                </a:lnTo>
                <a:lnTo>
                  <a:pt x="336" y="79"/>
                </a:lnTo>
                <a:lnTo>
                  <a:pt x="310" y="90"/>
                </a:lnTo>
                <a:lnTo>
                  <a:pt x="282" y="103"/>
                </a:lnTo>
                <a:lnTo>
                  <a:pt x="254" y="115"/>
                </a:lnTo>
                <a:lnTo>
                  <a:pt x="228" y="127"/>
                </a:lnTo>
                <a:lnTo>
                  <a:pt x="204" y="137"/>
                </a:lnTo>
                <a:lnTo>
                  <a:pt x="182" y="147"/>
                </a:lnTo>
                <a:lnTo>
                  <a:pt x="161" y="157"/>
                </a:lnTo>
                <a:lnTo>
                  <a:pt x="142" y="165"/>
                </a:lnTo>
                <a:lnTo>
                  <a:pt x="125" y="173"/>
                </a:lnTo>
                <a:lnTo>
                  <a:pt x="110" y="179"/>
                </a:lnTo>
                <a:lnTo>
                  <a:pt x="96" y="185"/>
                </a:lnTo>
                <a:lnTo>
                  <a:pt x="85" y="191"/>
                </a:lnTo>
                <a:lnTo>
                  <a:pt x="75" y="195"/>
                </a:lnTo>
                <a:lnTo>
                  <a:pt x="67" y="199"/>
                </a:lnTo>
                <a:lnTo>
                  <a:pt x="61" y="201"/>
                </a:lnTo>
                <a:lnTo>
                  <a:pt x="56" y="203"/>
                </a:lnTo>
                <a:lnTo>
                  <a:pt x="53" y="205"/>
                </a:lnTo>
                <a:lnTo>
                  <a:pt x="52" y="206"/>
                </a:lnTo>
                <a:lnTo>
                  <a:pt x="52" y="209"/>
                </a:lnTo>
                <a:lnTo>
                  <a:pt x="52" y="214"/>
                </a:lnTo>
                <a:lnTo>
                  <a:pt x="51" y="221"/>
                </a:lnTo>
                <a:lnTo>
                  <a:pt x="50" y="230"/>
                </a:lnTo>
                <a:lnTo>
                  <a:pt x="49" y="240"/>
                </a:lnTo>
                <a:lnTo>
                  <a:pt x="48" y="253"/>
                </a:lnTo>
                <a:lnTo>
                  <a:pt x="46" y="268"/>
                </a:lnTo>
                <a:lnTo>
                  <a:pt x="44" y="285"/>
                </a:lnTo>
                <a:lnTo>
                  <a:pt x="42" y="303"/>
                </a:lnTo>
                <a:lnTo>
                  <a:pt x="40" y="324"/>
                </a:lnTo>
                <a:lnTo>
                  <a:pt x="38" y="346"/>
                </a:lnTo>
                <a:lnTo>
                  <a:pt x="35" y="371"/>
                </a:lnTo>
                <a:lnTo>
                  <a:pt x="33" y="397"/>
                </a:lnTo>
                <a:lnTo>
                  <a:pt x="30" y="426"/>
                </a:lnTo>
                <a:lnTo>
                  <a:pt x="26" y="456"/>
                </a:lnTo>
                <a:lnTo>
                  <a:pt x="23" y="487"/>
                </a:lnTo>
                <a:lnTo>
                  <a:pt x="20" y="515"/>
                </a:lnTo>
                <a:lnTo>
                  <a:pt x="18" y="542"/>
                </a:lnTo>
                <a:lnTo>
                  <a:pt x="15" y="566"/>
                </a:lnTo>
                <a:lnTo>
                  <a:pt x="13" y="589"/>
                </a:lnTo>
                <a:lnTo>
                  <a:pt x="11" y="610"/>
                </a:lnTo>
                <a:lnTo>
                  <a:pt x="9" y="628"/>
                </a:lnTo>
                <a:lnTo>
                  <a:pt x="7" y="645"/>
                </a:lnTo>
                <a:lnTo>
                  <a:pt x="5" y="660"/>
                </a:lnTo>
                <a:lnTo>
                  <a:pt x="4" y="672"/>
                </a:lnTo>
                <a:lnTo>
                  <a:pt x="3" y="683"/>
                </a:lnTo>
                <a:lnTo>
                  <a:pt x="2" y="692"/>
                </a:lnTo>
                <a:lnTo>
                  <a:pt x="1" y="699"/>
                </a:lnTo>
                <a:lnTo>
                  <a:pt x="1" y="704"/>
                </a:lnTo>
                <a:lnTo>
                  <a:pt x="0" y="707"/>
                </a:lnTo>
                <a:lnTo>
                  <a:pt x="0" y="708"/>
                </a:lnTo>
                <a:lnTo>
                  <a:pt x="0" y="707"/>
                </a:lnTo>
                <a:lnTo>
                  <a:pt x="1" y="707"/>
                </a:lnTo>
                <a:lnTo>
                  <a:pt x="2" y="706"/>
                </a:lnTo>
                <a:lnTo>
                  <a:pt x="3" y="704"/>
                </a:lnTo>
                <a:lnTo>
                  <a:pt x="4" y="702"/>
                </a:lnTo>
                <a:lnTo>
                  <a:pt x="6" y="699"/>
                </a:lnTo>
                <a:lnTo>
                  <a:pt x="8" y="696"/>
                </a:lnTo>
                <a:lnTo>
                  <a:pt x="11" y="693"/>
                </a:lnTo>
                <a:lnTo>
                  <a:pt x="14" y="689"/>
                </a:lnTo>
                <a:lnTo>
                  <a:pt x="17" y="685"/>
                </a:lnTo>
                <a:lnTo>
                  <a:pt x="20" y="680"/>
                </a:lnTo>
                <a:lnTo>
                  <a:pt x="24" y="675"/>
                </a:lnTo>
                <a:lnTo>
                  <a:pt x="28" y="669"/>
                </a:lnTo>
                <a:lnTo>
                  <a:pt x="33" y="663"/>
                </a:lnTo>
                <a:lnTo>
                  <a:pt x="37" y="656"/>
                </a:lnTo>
                <a:lnTo>
                  <a:pt x="43" y="649"/>
                </a:lnTo>
                <a:lnTo>
                  <a:pt x="48" y="642"/>
                </a:lnTo>
                <a:lnTo>
                  <a:pt x="52" y="635"/>
                </a:lnTo>
                <a:lnTo>
                  <a:pt x="57" y="629"/>
                </a:lnTo>
                <a:lnTo>
                  <a:pt x="61" y="623"/>
                </a:lnTo>
                <a:lnTo>
                  <a:pt x="65" y="618"/>
                </a:lnTo>
                <a:lnTo>
                  <a:pt x="68" y="613"/>
                </a:lnTo>
                <a:lnTo>
                  <a:pt x="71" y="609"/>
                </a:lnTo>
                <a:lnTo>
                  <a:pt x="74" y="605"/>
                </a:lnTo>
                <a:lnTo>
                  <a:pt x="77" y="601"/>
                </a:lnTo>
                <a:lnTo>
                  <a:pt x="79" y="598"/>
                </a:lnTo>
                <a:lnTo>
                  <a:pt x="81" y="596"/>
                </a:lnTo>
                <a:lnTo>
                  <a:pt x="82" y="594"/>
                </a:lnTo>
                <a:lnTo>
                  <a:pt x="83" y="592"/>
                </a:lnTo>
                <a:lnTo>
                  <a:pt x="84" y="591"/>
                </a:lnTo>
                <a:lnTo>
                  <a:pt x="85" y="590"/>
                </a:lnTo>
                <a:lnTo>
                  <a:pt x="86" y="591"/>
                </a:lnTo>
                <a:lnTo>
                  <a:pt x="87" y="591"/>
                </a:lnTo>
                <a:lnTo>
                  <a:pt x="88" y="592"/>
                </a:lnTo>
                <a:lnTo>
                  <a:pt x="90" y="594"/>
                </a:lnTo>
                <a:lnTo>
                  <a:pt x="92" y="595"/>
                </a:lnTo>
                <a:lnTo>
                  <a:pt x="94" y="597"/>
                </a:lnTo>
                <a:lnTo>
                  <a:pt x="97" y="599"/>
                </a:lnTo>
                <a:lnTo>
                  <a:pt x="101" y="601"/>
                </a:lnTo>
                <a:lnTo>
                  <a:pt x="104" y="604"/>
                </a:lnTo>
                <a:lnTo>
                  <a:pt x="109" y="606"/>
                </a:lnTo>
                <a:lnTo>
                  <a:pt x="113" y="610"/>
                </a:lnTo>
                <a:lnTo>
                  <a:pt x="118" y="613"/>
                </a:lnTo>
                <a:lnTo>
                  <a:pt x="123" y="617"/>
                </a:lnTo>
                <a:lnTo>
                  <a:pt x="129" y="620"/>
                </a:lnTo>
                <a:lnTo>
                  <a:pt x="135" y="625"/>
                </a:lnTo>
                <a:lnTo>
                  <a:pt x="142" y="629"/>
                </a:lnTo>
                <a:lnTo>
                  <a:pt x="149" y="633"/>
                </a:lnTo>
                <a:lnTo>
                  <a:pt x="156" y="638"/>
                </a:lnTo>
                <a:lnTo>
                  <a:pt x="164" y="643"/>
                </a:lnTo>
                <a:lnTo>
                  <a:pt x="172" y="648"/>
                </a:lnTo>
                <a:lnTo>
                  <a:pt x="181" y="653"/>
                </a:lnTo>
                <a:lnTo>
                  <a:pt x="191" y="658"/>
                </a:lnTo>
                <a:lnTo>
                  <a:pt x="200" y="663"/>
                </a:lnTo>
                <a:lnTo>
                  <a:pt x="211" y="668"/>
                </a:lnTo>
                <a:lnTo>
                  <a:pt x="221" y="674"/>
                </a:lnTo>
                <a:lnTo>
                  <a:pt x="233" y="679"/>
                </a:lnTo>
                <a:lnTo>
                  <a:pt x="244" y="685"/>
                </a:lnTo>
                <a:lnTo>
                  <a:pt x="257" y="691"/>
                </a:lnTo>
                <a:lnTo>
                  <a:pt x="269" y="697"/>
                </a:lnTo>
                <a:lnTo>
                  <a:pt x="282" y="703"/>
                </a:lnTo>
                <a:lnTo>
                  <a:pt x="296" y="709"/>
                </a:lnTo>
                <a:lnTo>
                  <a:pt x="310" y="715"/>
                </a:lnTo>
                <a:lnTo>
                  <a:pt x="324" y="721"/>
                </a:lnTo>
                <a:lnTo>
                  <a:pt x="339" y="726"/>
                </a:lnTo>
                <a:lnTo>
                  <a:pt x="354" y="732"/>
                </a:lnTo>
                <a:lnTo>
                  <a:pt x="369" y="737"/>
                </a:lnTo>
                <a:lnTo>
                  <a:pt x="385" y="742"/>
                </a:lnTo>
                <a:lnTo>
                  <a:pt x="401" y="747"/>
                </a:lnTo>
                <a:lnTo>
                  <a:pt x="417" y="751"/>
                </a:lnTo>
                <a:lnTo>
                  <a:pt x="433" y="756"/>
                </a:lnTo>
                <a:lnTo>
                  <a:pt x="450" y="760"/>
                </a:lnTo>
                <a:lnTo>
                  <a:pt x="467" y="764"/>
                </a:lnTo>
                <a:lnTo>
                  <a:pt x="485" y="767"/>
                </a:lnTo>
                <a:lnTo>
                  <a:pt x="503" y="771"/>
                </a:lnTo>
                <a:lnTo>
                  <a:pt x="521" y="774"/>
                </a:lnTo>
                <a:lnTo>
                  <a:pt x="539" y="777"/>
                </a:lnTo>
                <a:lnTo>
                  <a:pt x="558" y="780"/>
                </a:lnTo>
                <a:lnTo>
                  <a:pt x="577" y="782"/>
                </a:lnTo>
                <a:lnTo>
                  <a:pt x="596" y="784"/>
                </a:lnTo>
                <a:lnTo>
                  <a:pt x="615" y="786"/>
                </a:lnTo>
                <a:lnTo>
                  <a:pt x="634" y="787"/>
                </a:lnTo>
                <a:lnTo>
                  <a:pt x="653" y="788"/>
                </a:lnTo>
                <a:lnTo>
                  <a:pt x="671" y="789"/>
                </a:lnTo>
                <a:lnTo>
                  <a:pt x="690" y="789"/>
                </a:lnTo>
                <a:lnTo>
                  <a:pt x="709" y="789"/>
                </a:lnTo>
                <a:lnTo>
                  <a:pt x="728" y="789"/>
                </a:lnTo>
                <a:lnTo>
                  <a:pt x="746" y="788"/>
                </a:lnTo>
                <a:lnTo>
                  <a:pt x="765" y="786"/>
                </a:lnTo>
                <a:lnTo>
                  <a:pt x="783" y="785"/>
                </a:lnTo>
                <a:lnTo>
                  <a:pt x="802" y="783"/>
                </a:lnTo>
                <a:lnTo>
                  <a:pt x="820" y="780"/>
                </a:lnTo>
                <a:lnTo>
                  <a:pt x="839" y="778"/>
                </a:lnTo>
                <a:lnTo>
                  <a:pt x="857" y="775"/>
                </a:lnTo>
                <a:lnTo>
                  <a:pt x="875" y="771"/>
                </a:lnTo>
                <a:lnTo>
                  <a:pt x="893" y="768"/>
                </a:lnTo>
                <a:lnTo>
                  <a:pt x="910" y="764"/>
                </a:lnTo>
                <a:lnTo>
                  <a:pt x="926" y="761"/>
                </a:lnTo>
                <a:lnTo>
                  <a:pt x="942" y="757"/>
                </a:lnTo>
                <a:lnTo>
                  <a:pt x="958" y="753"/>
                </a:lnTo>
                <a:lnTo>
                  <a:pt x="972" y="749"/>
                </a:lnTo>
                <a:lnTo>
                  <a:pt x="987" y="745"/>
                </a:lnTo>
                <a:lnTo>
                  <a:pt x="1001" y="741"/>
                </a:lnTo>
                <a:lnTo>
                  <a:pt x="1014" y="737"/>
                </a:lnTo>
                <a:lnTo>
                  <a:pt x="1027" y="733"/>
                </a:lnTo>
                <a:lnTo>
                  <a:pt x="1039" y="728"/>
                </a:lnTo>
                <a:lnTo>
                  <a:pt x="1051" y="724"/>
                </a:lnTo>
                <a:lnTo>
                  <a:pt x="1062" y="719"/>
                </a:lnTo>
                <a:lnTo>
                  <a:pt x="1073" y="715"/>
                </a:lnTo>
                <a:lnTo>
                  <a:pt x="1083" y="710"/>
                </a:lnTo>
                <a:lnTo>
                  <a:pt x="1093" y="705"/>
                </a:lnTo>
                <a:lnTo>
                  <a:pt x="1102" y="701"/>
                </a:lnTo>
                <a:lnTo>
                  <a:pt x="1110" y="697"/>
                </a:lnTo>
                <a:lnTo>
                  <a:pt x="1118" y="693"/>
                </a:lnTo>
                <a:lnTo>
                  <a:pt x="1125" y="689"/>
                </a:lnTo>
                <a:lnTo>
                  <a:pt x="1132" y="686"/>
                </a:lnTo>
                <a:lnTo>
                  <a:pt x="1137" y="683"/>
                </a:lnTo>
                <a:lnTo>
                  <a:pt x="1143" y="681"/>
                </a:lnTo>
                <a:lnTo>
                  <a:pt x="1147" y="679"/>
                </a:lnTo>
                <a:lnTo>
                  <a:pt x="1151" y="677"/>
                </a:lnTo>
                <a:lnTo>
                  <a:pt x="1155" y="675"/>
                </a:lnTo>
                <a:lnTo>
                  <a:pt x="1158" y="674"/>
                </a:lnTo>
                <a:lnTo>
                  <a:pt x="1160" y="673"/>
                </a:lnTo>
                <a:lnTo>
                  <a:pt x="1161" y="672"/>
                </a:lnTo>
                <a:lnTo>
                  <a:pt x="1162" y="671"/>
                </a:lnTo>
                <a:lnTo>
                  <a:pt x="1163" y="671"/>
                </a:lnTo>
                <a:lnTo>
                  <a:pt x="1162" y="671"/>
                </a:lnTo>
                <a:lnTo>
                  <a:pt x="1160" y="670"/>
                </a:lnTo>
                <a:lnTo>
                  <a:pt x="1157" y="669"/>
                </a:lnTo>
                <a:lnTo>
                  <a:pt x="1153" y="667"/>
                </a:lnTo>
                <a:lnTo>
                  <a:pt x="1148" y="665"/>
                </a:lnTo>
                <a:lnTo>
                  <a:pt x="1142" y="662"/>
                </a:lnTo>
                <a:lnTo>
                  <a:pt x="1134" y="659"/>
                </a:lnTo>
                <a:lnTo>
                  <a:pt x="1126" y="655"/>
                </a:lnTo>
                <a:lnTo>
                  <a:pt x="1116" y="650"/>
                </a:lnTo>
                <a:lnTo>
                  <a:pt x="1105" y="645"/>
                </a:lnTo>
                <a:lnTo>
                  <a:pt x="1093" y="640"/>
                </a:lnTo>
                <a:lnTo>
                  <a:pt x="1080" y="634"/>
                </a:lnTo>
                <a:lnTo>
                  <a:pt x="1066" y="628"/>
                </a:lnTo>
                <a:lnTo>
                  <a:pt x="1050" y="621"/>
                </a:lnTo>
                <a:lnTo>
                  <a:pt x="1034" y="613"/>
                </a:lnTo>
                <a:lnTo>
                  <a:pt x="1016" y="605"/>
                </a:lnTo>
                <a:lnTo>
                  <a:pt x="998" y="597"/>
                </a:lnTo>
                <a:lnTo>
                  <a:pt x="981" y="590"/>
                </a:lnTo>
                <a:lnTo>
                  <a:pt x="966" y="583"/>
                </a:lnTo>
                <a:lnTo>
                  <a:pt x="952" y="577"/>
                </a:lnTo>
                <a:lnTo>
                  <a:pt x="938" y="571"/>
                </a:lnTo>
                <a:lnTo>
                  <a:pt x="926" y="565"/>
                </a:lnTo>
                <a:lnTo>
                  <a:pt x="915" y="560"/>
                </a:lnTo>
                <a:lnTo>
                  <a:pt x="906" y="556"/>
                </a:lnTo>
                <a:lnTo>
                  <a:pt x="897" y="552"/>
                </a:lnTo>
                <a:lnTo>
                  <a:pt x="890" y="549"/>
                </a:lnTo>
                <a:lnTo>
                  <a:pt x="883" y="546"/>
                </a:lnTo>
                <a:lnTo>
                  <a:pt x="878" y="544"/>
                </a:lnTo>
                <a:lnTo>
                  <a:pt x="874" y="542"/>
                </a:lnTo>
                <a:lnTo>
                  <a:pt x="871" y="540"/>
                </a:lnTo>
                <a:lnTo>
                  <a:pt x="870" y="540"/>
                </a:lnTo>
                <a:lnTo>
                  <a:pt x="869" y="539"/>
                </a:lnTo>
                <a:lnTo>
                  <a:pt x="869" y="537"/>
                </a:lnTo>
                <a:lnTo>
                  <a:pt x="868" y="533"/>
                </a:lnTo>
                <a:lnTo>
                  <a:pt x="868" y="528"/>
                </a:lnTo>
                <a:lnTo>
                  <a:pt x="867" y="522"/>
                </a:lnTo>
                <a:lnTo>
                  <a:pt x="866" y="514"/>
                </a:lnTo>
                <a:lnTo>
                  <a:pt x="865" y="505"/>
                </a:lnTo>
                <a:lnTo>
                  <a:pt x="864" y="495"/>
                </a:lnTo>
                <a:lnTo>
                  <a:pt x="863" y="483"/>
                </a:lnTo>
                <a:lnTo>
                  <a:pt x="862" y="470"/>
                </a:lnTo>
                <a:lnTo>
                  <a:pt x="860" y="455"/>
                </a:lnTo>
                <a:lnTo>
                  <a:pt x="858" y="439"/>
                </a:lnTo>
                <a:lnTo>
                  <a:pt x="856" y="422"/>
                </a:lnTo>
                <a:lnTo>
                  <a:pt x="854" y="403"/>
                </a:lnTo>
                <a:lnTo>
                  <a:pt x="852" y="383"/>
                </a:lnTo>
                <a:lnTo>
                  <a:pt x="850" y="361"/>
                </a:lnTo>
                <a:lnTo>
                  <a:pt x="848" y="339"/>
                </a:lnTo>
                <a:lnTo>
                  <a:pt x="845" y="319"/>
                </a:lnTo>
                <a:lnTo>
                  <a:pt x="843" y="300"/>
                </a:lnTo>
                <a:lnTo>
                  <a:pt x="842" y="283"/>
                </a:lnTo>
                <a:lnTo>
                  <a:pt x="840" y="267"/>
                </a:lnTo>
                <a:lnTo>
                  <a:pt x="838" y="252"/>
                </a:lnTo>
                <a:lnTo>
                  <a:pt x="837" y="239"/>
                </a:lnTo>
                <a:lnTo>
                  <a:pt x="836" y="227"/>
                </a:lnTo>
                <a:lnTo>
                  <a:pt x="834" y="217"/>
                </a:lnTo>
                <a:lnTo>
                  <a:pt x="833" y="208"/>
                </a:lnTo>
                <a:lnTo>
                  <a:pt x="833" y="200"/>
                </a:lnTo>
                <a:lnTo>
                  <a:pt x="832" y="194"/>
                </a:lnTo>
                <a:lnTo>
                  <a:pt x="831" y="189"/>
                </a:lnTo>
                <a:lnTo>
                  <a:pt x="831" y="185"/>
                </a:lnTo>
                <a:lnTo>
                  <a:pt x="831" y="183"/>
                </a:lnTo>
                <a:lnTo>
                  <a:pt x="830" y="183"/>
                </a:lnTo>
                <a:lnTo>
                  <a:pt x="829" y="183"/>
                </a:lnTo>
                <a:lnTo>
                  <a:pt x="827" y="184"/>
                </a:lnTo>
                <a:lnTo>
                  <a:pt x="825" y="184"/>
                </a:lnTo>
                <a:lnTo>
                  <a:pt x="822" y="185"/>
                </a:lnTo>
                <a:lnTo>
                  <a:pt x="819" y="186"/>
                </a:lnTo>
                <a:lnTo>
                  <a:pt x="815" y="186"/>
                </a:lnTo>
                <a:lnTo>
                  <a:pt x="811" y="187"/>
                </a:lnTo>
                <a:lnTo>
                  <a:pt x="807" y="189"/>
                </a:lnTo>
                <a:lnTo>
                  <a:pt x="802" y="190"/>
                </a:lnTo>
                <a:lnTo>
                  <a:pt x="796" y="191"/>
                </a:lnTo>
                <a:lnTo>
                  <a:pt x="790" y="193"/>
                </a:lnTo>
                <a:lnTo>
                  <a:pt x="784" y="194"/>
                </a:lnTo>
                <a:lnTo>
                  <a:pt x="777" y="196"/>
                </a:lnTo>
                <a:lnTo>
                  <a:pt x="769" y="198"/>
                </a:lnTo>
                <a:lnTo>
                  <a:pt x="762" y="200"/>
                </a:lnTo>
                <a:lnTo>
                  <a:pt x="754" y="201"/>
                </a:lnTo>
                <a:lnTo>
                  <a:pt x="746" y="203"/>
                </a:lnTo>
                <a:lnTo>
                  <a:pt x="737" y="204"/>
                </a:lnTo>
                <a:lnTo>
                  <a:pt x="729" y="205"/>
                </a:lnTo>
                <a:lnTo>
                  <a:pt x="720" y="205"/>
                </a:lnTo>
                <a:lnTo>
                  <a:pt x="711" y="206"/>
                </a:lnTo>
                <a:lnTo>
                  <a:pt x="702" y="206"/>
                </a:lnTo>
                <a:lnTo>
                  <a:pt x="692" y="206"/>
                </a:lnTo>
                <a:lnTo>
                  <a:pt x="683" y="205"/>
                </a:lnTo>
                <a:lnTo>
                  <a:pt x="673" y="205"/>
                </a:lnTo>
                <a:lnTo>
                  <a:pt x="663" y="204"/>
                </a:lnTo>
                <a:lnTo>
                  <a:pt x="653" y="203"/>
                </a:lnTo>
                <a:lnTo>
                  <a:pt x="642" y="202"/>
                </a:lnTo>
                <a:lnTo>
                  <a:pt x="631" y="201"/>
                </a:lnTo>
                <a:lnTo>
                  <a:pt x="621" y="199"/>
                </a:lnTo>
                <a:lnTo>
                  <a:pt x="610" y="197"/>
                </a:lnTo>
                <a:lnTo>
                  <a:pt x="599" y="195"/>
                </a:lnTo>
                <a:lnTo>
                  <a:pt x="589" y="193"/>
                </a:lnTo>
                <a:lnTo>
                  <a:pt x="579" y="191"/>
                </a:lnTo>
                <a:lnTo>
                  <a:pt x="569" y="188"/>
                </a:lnTo>
                <a:lnTo>
                  <a:pt x="560" y="186"/>
                </a:lnTo>
                <a:lnTo>
                  <a:pt x="550" y="183"/>
                </a:lnTo>
                <a:lnTo>
                  <a:pt x="541" y="180"/>
                </a:lnTo>
                <a:lnTo>
                  <a:pt x="533" y="177"/>
                </a:lnTo>
                <a:lnTo>
                  <a:pt x="524" y="174"/>
                </a:lnTo>
                <a:lnTo>
                  <a:pt x="516" y="170"/>
                </a:lnTo>
                <a:lnTo>
                  <a:pt x="508" y="167"/>
                </a:lnTo>
                <a:lnTo>
                  <a:pt x="500" y="163"/>
                </a:lnTo>
                <a:lnTo>
                  <a:pt x="493" y="159"/>
                </a:lnTo>
                <a:lnTo>
                  <a:pt x="486" y="155"/>
                </a:lnTo>
                <a:lnTo>
                  <a:pt x="479" y="151"/>
                </a:lnTo>
                <a:lnTo>
                  <a:pt x="472" y="147"/>
                </a:lnTo>
                <a:lnTo>
                  <a:pt x="466" y="143"/>
                </a:lnTo>
                <a:lnTo>
                  <a:pt x="460" y="140"/>
                </a:lnTo>
                <a:lnTo>
                  <a:pt x="455" y="137"/>
                </a:lnTo>
                <a:lnTo>
                  <a:pt x="450" y="134"/>
                </a:lnTo>
                <a:lnTo>
                  <a:pt x="446" y="131"/>
                </a:lnTo>
                <a:lnTo>
                  <a:pt x="442" y="128"/>
                </a:lnTo>
                <a:lnTo>
                  <a:pt x="438" y="126"/>
                </a:lnTo>
                <a:lnTo>
                  <a:pt x="435" y="124"/>
                </a:lnTo>
                <a:lnTo>
                  <a:pt x="432" y="123"/>
                </a:lnTo>
                <a:lnTo>
                  <a:pt x="430" y="121"/>
                </a:lnTo>
                <a:lnTo>
                  <a:pt x="428" y="120"/>
                </a:lnTo>
                <a:lnTo>
                  <a:pt x="426" y="119"/>
                </a:lnTo>
                <a:lnTo>
                  <a:pt x="425" y="118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0" name="Freeform 6"/>
          <p:cNvSpPr>
            <a:spLocks noChangeAspect="1"/>
          </p:cNvSpPr>
          <p:nvPr/>
        </p:nvSpPr>
        <p:spPr bwMode="auto">
          <a:xfrm>
            <a:off x="2559539" y="2673345"/>
            <a:ext cx="1488797" cy="2144938"/>
          </a:xfrm>
          <a:custGeom>
            <a:avLst/>
            <a:gdLst>
              <a:gd name="T0" fmla="*/ 220276625 w 827"/>
              <a:gd name="T1" fmla="*/ 419068028 h 1215"/>
              <a:gd name="T2" fmla="*/ 44056064 w 827"/>
              <a:gd name="T3" fmla="*/ 361615480 h 1215"/>
              <a:gd name="T4" fmla="*/ 3389069 w 827"/>
              <a:gd name="T5" fmla="*/ 348097990 h 1215"/>
              <a:gd name="T6" fmla="*/ 159277073 w 827"/>
              <a:gd name="T7" fmla="*/ 314301509 h 1215"/>
              <a:gd name="T8" fmla="*/ 548994353 w 827"/>
              <a:gd name="T9" fmla="*/ 233190999 h 1215"/>
              <a:gd name="T10" fmla="*/ 1114934049 w 827"/>
              <a:gd name="T11" fmla="*/ 114905124 h 1215"/>
              <a:gd name="T12" fmla="*/ 1504652997 w 827"/>
              <a:gd name="T13" fmla="*/ 30415745 h 1215"/>
              <a:gd name="T14" fmla="*/ 1660540945 w 827"/>
              <a:gd name="T15" fmla="*/ 0 h 1215"/>
              <a:gd name="T16" fmla="*/ 1718151428 w 827"/>
              <a:gd name="T17" fmla="*/ 60833328 h 1215"/>
              <a:gd name="T18" fmla="*/ 1931650318 w 827"/>
              <a:gd name="T19" fmla="*/ 297403268 h 1215"/>
              <a:gd name="T20" fmla="*/ 2147483647 w 827"/>
              <a:gd name="T21" fmla="*/ 709713470 h 1215"/>
              <a:gd name="T22" fmla="*/ 2147483647 w 827"/>
              <a:gd name="T23" fmla="*/ 1064569401 h 1215"/>
              <a:gd name="T24" fmla="*/ 2147483647 w 827"/>
              <a:gd name="T25" fmla="*/ 1243686708 h 1215"/>
              <a:gd name="T26" fmla="*/ 2147483647 w 827"/>
              <a:gd name="T27" fmla="*/ 1263963862 h 1215"/>
              <a:gd name="T28" fmla="*/ 2147483647 w 827"/>
              <a:gd name="T29" fmla="*/ 1240307796 h 1215"/>
              <a:gd name="T30" fmla="*/ 2147483647 w 827"/>
              <a:gd name="T31" fmla="*/ 1196372737 h 1215"/>
              <a:gd name="T32" fmla="*/ 2147483647 w 827"/>
              <a:gd name="T33" fmla="*/ 1145679854 h 1215"/>
              <a:gd name="T34" fmla="*/ 2147483647 w 827"/>
              <a:gd name="T35" fmla="*/ 1115262285 h 1215"/>
              <a:gd name="T36" fmla="*/ 2147483647 w 827"/>
              <a:gd name="T37" fmla="*/ 1108504460 h 1215"/>
              <a:gd name="T38" fmla="*/ 2147483647 w 827"/>
              <a:gd name="T39" fmla="*/ 1162576256 h 1215"/>
              <a:gd name="T40" fmla="*/ 2147483647 w 827"/>
              <a:gd name="T41" fmla="*/ 1291000679 h 1215"/>
              <a:gd name="T42" fmla="*/ 2147483647 w 827"/>
              <a:gd name="T43" fmla="*/ 1490396978 h 1215"/>
              <a:gd name="T44" fmla="*/ 2147483647 w 827"/>
              <a:gd name="T45" fmla="*/ 1689791439 h 1215"/>
              <a:gd name="T46" fmla="*/ 2147483647 w 827"/>
              <a:gd name="T47" fmla="*/ 1882428073 h 1215"/>
              <a:gd name="T48" fmla="*/ 2147483647 w 827"/>
              <a:gd name="T49" fmla="*/ 2061545840 h 1215"/>
              <a:gd name="T50" fmla="*/ 2147483647 w 827"/>
              <a:gd name="T51" fmla="*/ 2147483647 h 1215"/>
              <a:gd name="T52" fmla="*/ 2147483647 w 827"/>
              <a:gd name="T53" fmla="*/ 2147483647 h 1215"/>
              <a:gd name="T54" fmla="*/ 2147483647 w 827"/>
              <a:gd name="T55" fmla="*/ 2147483647 h 1215"/>
              <a:gd name="T56" fmla="*/ 2147483647 w 827"/>
              <a:gd name="T57" fmla="*/ 2147483647 h 1215"/>
              <a:gd name="T58" fmla="*/ 2147483647 w 827"/>
              <a:gd name="T59" fmla="*/ 2147483647 h 1215"/>
              <a:gd name="T60" fmla="*/ 2147483647 w 827"/>
              <a:gd name="T61" fmla="*/ 2147483647 h 1215"/>
              <a:gd name="T62" fmla="*/ 2063814786 w 827"/>
              <a:gd name="T63" fmla="*/ 2147483647 h 1215"/>
              <a:gd name="T64" fmla="*/ 1707984222 w 827"/>
              <a:gd name="T65" fmla="*/ 2147483647 h 1215"/>
              <a:gd name="T66" fmla="*/ 1504652997 w 827"/>
              <a:gd name="T67" fmla="*/ 2147483647 h 1215"/>
              <a:gd name="T68" fmla="*/ 1450431583 w 827"/>
              <a:gd name="T69" fmla="*/ 2147483647 h 1215"/>
              <a:gd name="T70" fmla="*/ 1440264377 w 827"/>
              <a:gd name="T71" fmla="*/ 2147483647 h 1215"/>
              <a:gd name="T72" fmla="*/ 1413153670 w 827"/>
              <a:gd name="T73" fmla="*/ 2147483647 h 1215"/>
              <a:gd name="T74" fmla="*/ 1372486689 w 827"/>
              <a:gd name="T75" fmla="*/ 2147483647 h 1215"/>
              <a:gd name="T76" fmla="*/ 1345375981 w 827"/>
              <a:gd name="T77" fmla="*/ 2147483647 h 1215"/>
              <a:gd name="T78" fmla="*/ 1335210617 w 827"/>
              <a:gd name="T79" fmla="*/ 2147483647 h 1215"/>
              <a:gd name="T80" fmla="*/ 1311488978 w 827"/>
              <a:gd name="T81" fmla="*/ 2147483647 h 1215"/>
              <a:gd name="T82" fmla="*/ 1223378719 w 827"/>
              <a:gd name="T83" fmla="*/ 2147483647 h 1215"/>
              <a:gd name="T84" fmla="*/ 1067490772 w 827"/>
              <a:gd name="T85" fmla="*/ 2147483647 h 1215"/>
              <a:gd name="T86" fmla="*/ 894659092 w 827"/>
              <a:gd name="T87" fmla="*/ 2147483647 h 1215"/>
              <a:gd name="T88" fmla="*/ 728603939 w 827"/>
              <a:gd name="T89" fmla="*/ 2147483647 h 1215"/>
              <a:gd name="T90" fmla="*/ 576105061 w 827"/>
              <a:gd name="T91" fmla="*/ 2147483647 h 1215"/>
              <a:gd name="T92" fmla="*/ 454107683 w 827"/>
              <a:gd name="T93" fmla="*/ 2147483647 h 1215"/>
              <a:gd name="T94" fmla="*/ 362608356 w 827"/>
              <a:gd name="T95" fmla="*/ 2147483647 h 1215"/>
              <a:gd name="T96" fmla="*/ 308386941 w 827"/>
              <a:gd name="T97" fmla="*/ 1950019657 h 1215"/>
              <a:gd name="T98" fmla="*/ 288052530 w 827"/>
              <a:gd name="T99" fmla="*/ 1605302073 h 1215"/>
              <a:gd name="T100" fmla="*/ 308386941 w 827"/>
              <a:gd name="T101" fmla="*/ 1267344613 h 1215"/>
              <a:gd name="T102" fmla="*/ 355830219 w 827"/>
              <a:gd name="T103" fmla="*/ 946283325 h 1215"/>
              <a:gd name="T104" fmla="*/ 423607907 w 827"/>
              <a:gd name="T105" fmla="*/ 642120508 h 121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27"/>
              <a:gd name="T160" fmla="*/ 0 h 1215"/>
              <a:gd name="T161" fmla="*/ 827 w 827"/>
              <a:gd name="T162" fmla="*/ 1215 h 121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27" h="1215">
                <a:moveTo>
                  <a:pt x="137" y="148"/>
                </a:moveTo>
                <a:lnTo>
                  <a:pt x="120" y="142"/>
                </a:lnTo>
                <a:lnTo>
                  <a:pt x="105" y="137"/>
                </a:lnTo>
                <a:lnTo>
                  <a:pt x="90" y="132"/>
                </a:lnTo>
                <a:lnTo>
                  <a:pt x="77" y="128"/>
                </a:lnTo>
                <a:lnTo>
                  <a:pt x="65" y="124"/>
                </a:lnTo>
                <a:lnTo>
                  <a:pt x="53" y="120"/>
                </a:lnTo>
                <a:lnTo>
                  <a:pt x="43" y="117"/>
                </a:lnTo>
                <a:lnTo>
                  <a:pt x="34" y="114"/>
                </a:lnTo>
                <a:lnTo>
                  <a:pt x="26" y="111"/>
                </a:lnTo>
                <a:lnTo>
                  <a:pt x="19" y="109"/>
                </a:lnTo>
                <a:lnTo>
                  <a:pt x="13" y="107"/>
                </a:lnTo>
                <a:lnTo>
                  <a:pt x="9" y="106"/>
                </a:lnTo>
                <a:lnTo>
                  <a:pt x="5" y="105"/>
                </a:lnTo>
                <a:lnTo>
                  <a:pt x="2" y="104"/>
                </a:lnTo>
                <a:lnTo>
                  <a:pt x="1" y="103"/>
                </a:lnTo>
                <a:lnTo>
                  <a:pt x="0" y="103"/>
                </a:lnTo>
                <a:lnTo>
                  <a:pt x="1" y="103"/>
                </a:lnTo>
                <a:lnTo>
                  <a:pt x="4" y="102"/>
                </a:lnTo>
                <a:lnTo>
                  <a:pt x="9" y="101"/>
                </a:lnTo>
                <a:lnTo>
                  <a:pt x="15" y="100"/>
                </a:lnTo>
                <a:lnTo>
                  <a:pt x="24" y="98"/>
                </a:lnTo>
                <a:lnTo>
                  <a:pt x="35" y="96"/>
                </a:lnTo>
                <a:lnTo>
                  <a:pt x="47" y="93"/>
                </a:lnTo>
                <a:lnTo>
                  <a:pt x="61" y="90"/>
                </a:lnTo>
                <a:lnTo>
                  <a:pt x="78" y="87"/>
                </a:lnTo>
                <a:lnTo>
                  <a:pt x="96" y="83"/>
                </a:lnTo>
                <a:lnTo>
                  <a:pt x="116" y="79"/>
                </a:lnTo>
                <a:lnTo>
                  <a:pt x="138" y="74"/>
                </a:lnTo>
                <a:lnTo>
                  <a:pt x="162" y="69"/>
                </a:lnTo>
                <a:lnTo>
                  <a:pt x="188" y="63"/>
                </a:lnTo>
                <a:lnTo>
                  <a:pt x="216" y="58"/>
                </a:lnTo>
                <a:lnTo>
                  <a:pt x="245" y="51"/>
                </a:lnTo>
                <a:lnTo>
                  <a:pt x="275" y="45"/>
                </a:lnTo>
                <a:lnTo>
                  <a:pt x="303" y="39"/>
                </a:lnTo>
                <a:lnTo>
                  <a:pt x="329" y="34"/>
                </a:lnTo>
                <a:lnTo>
                  <a:pt x="353" y="29"/>
                </a:lnTo>
                <a:lnTo>
                  <a:pt x="375" y="24"/>
                </a:lnTo>
                <a:lnTo>
                  <a:pt x="395" y="20"/>
                </a:lnTo>
                <a:lnTo>
                  <a:pt x="413" y="16"/>
                </a:lnTo>
                <a:lnTo>
                  <a:pt x="429" y="12"/>
                </a:lnTo>
                <a:lnTo>
                  <a:pt x="444" y="9"/>
                </a:lnTo>
                <a:lnTo>
                  <a:pt x="456" y="7"/>
                </a:lnTo>
                <a:lnTo>
                  <a:pt x="467" y="5"/>
                </a:lnTo>
                <a:lnTo>
                  <a:pt x="475" y="3"/>
                </a:lnTo>
                <a:lnTo>
                  <a:pt x="482" y="1"/>
                </a:lnTo>
                <a:lnTo>
                  <a:pt x="487" y="0"/>
                </a:lnTo>
                <a:lnTo>
                  <a:pt x="490" y="0"/>
                </a:lnTo>
                <a:lnTo>
                  <a:pt x="491" y="0"/>
                </a:lnTo>
                <a:lnTo>
                  <a:pt x="493" y="2"/>
                </a:lnTo>
                <a:lnTo>
                  <a:pt x="497" y="6"/>
                </a:lnTo>
                <a:lnTo>
                  <a:pt x="501" y="11"/>
                </a:lnTo>
                <a:lnTo>
                  <a:pt x="507" y="18"/>
                </a:lnTo>
                <a:lnTo>
                  <a:pt x="514" y="26"/>
                </a:lnTo>
                <a:lnTo>
                  <a:pt x="523" y="35"/>
                </a:lnTo>
                <a:lnTo>
                  <a:pt x="533" y="46"/>
                </a:lnTo>
                <a:lnTo>
                  <a:pt x="544" y="59"/>
                </a:lnTo>
                <a:lnTo>
                  <a:pt x="556" y="73"/>
                </a:lnTo>
                <a:lnTo>
                  <a:pt x="570" y="88"/>
                </a:lnTo>
                <a:lnTo>
                  <a:pt x="585" y="105"/>
                </a:lnTo>
                <a:lnTo>
                  <a:pt x="601" y="123"/>
                </a:lnTo>
                <a:lnTo>
                  <a:pt x="619" y="143"/>
                </a:lnTo>
                <a:lnTo>
                  <a:pt x="638" y="164"/>
                </a:lnTo>
                <a:lnTo>
                  <a:pt x="659" y="187"/>
                </a:lnTo>
                <a:lnTo>
                  <a:pt x="679" y="210"/>
                </a:lnTo>
                <a:lnTo>
                  <a:pt x="698" y="231"/>
                </a:lnTo>
                <a:lnTo>
                  <a:pt x="716" y="251"/>
                </a:lnTo>
                <a:lnTo>
                  <a:pt x="732" y="269"/>
                </a:lnTo>
                <a:lnTo>
                  <a:pt x="747" y="286"/>
                </a:lnTo>
                <a:lnTo>
                  <a:pt x="761" y="301"/>
                </a:lnTo>
                <a:lnTo>
                  <a:pt x="773" y="315"/>
                </a:lnTo>
                <a:lnTo>
                  <a:pt x="784" y="328"/>
                </a:lnTo>
                <a:lnTo>
                  <a:pt x="794" y="339"/>
                </a:lnTo>
                <a:lnTo>
                  <a:pt x="803" y="348"/>
                </a:lnTo>
                <a:lnTo>
                  <a:pt x="810" y="356"/>
                </a:lnTo>
                <a:lnTo>
                  <a:pt x="816" y="363"/>
                </a:lnTo>
                <a:lnTo>
                  <a:pt x="821" y="368"/>
                </a:lnTo>
                <a:lnTo>
                  <a:pt x="824" y="372"/>
                </a:lnTo>
                <a:lnTo>
                  <a:pt x="826" y="374"/>
                </a:lnTo>
                <a:lnTo>
                  <a:pt x="826" y="375"/>
                </a:lnTo>
                <a:lnTo>
                  <a:pt x="825" y="374"/>
                </a:lnTo>
                <a:lnTo>
                  <a:pt x="824" y="374"/>
                </a:lnTo>
                <a:lnTo>
                  <a:pt x="822" y="373"/>
                </a:lnTo>
                <a:lnTo>
                  <a:pt x="820" y="372"/>
                </a:lnTo>
                <a:lnTo>
                  <a:pt x="817" y="371"/>
                </a:lnTo>
                <a:lnTo>
                  <a:pt x="813" y="370"/>
                </a:lnTo>
                <a:lnTo>
                  <a:pt x="809" y="369"/>
                </a:lnTo>
                <a:lnTo>
                  <a:pt x="804" y="367"/>
                </a:lnTo>
                <a:lnTo>
                  <a:pt x="799" y="365"/>
                </a:lnTo>
                <a:lnTo>
                  <a:pt x="793" y="364"/>
                </a:lnTo>
                <a:lnTo>
                  <a:pt x="787" y="361"/>
                </a:lnTo>
                <a:lnTo>
                  <a:pt x="780" y="359"/>
                </a:lnTo>
                <a:lnTo>
                  <a:pt x="773" y="357"/>
                </a:lnTo>
                <a:lnTo>
                  <a:pt x="765" y="354"/>
                </a:lnTo>
                <a:lnTo>
                  <a:pt x="756" y="351"/>
                </a:lnTo>
                <a:lnTo>
                  <a:pt x="748" y="348"/>
                </a:lnTo>
                <a:lnTo>
                  <a:pt x="740" y="346"/>
                </a:lnTo>
                <a:lnTo>
                  <a:pt x="732" y="343"/>
                </a:lnTo>
                <a:lnTo>
                  <a:pt x="725" y="341"/>
                </a:lnTo>
                <a:lnTo>
                  <a:pt x="719" y="339"/>
                </a:lnTo>
                <a:lnTo>
                  <a:pt x="713" y="337"/>
                </a:lnTo>
                <a:lnTo>
                  <a:pt x="708" y="335"/>
                </a:lnTo>
                <a:lnTo>
                  <a:pt x="703" y="334"/>
                </a:lnTo>
                <a:lnTo>
                  <a:pt x="699" y="332"/>
                </a:lnTo>
                <a:lnTo>
                  <a:pt x="696" y="331"/>
                </a:lnTo>
                <a:lnTo>
                  <a:pt x="693" y="330"/>
                </a:lnTo>
                <a:lnTo>
                  <a:pt x="690" y="329"/>
                </a:lnTo>
                <a:lnTo>
                  <a:pt x="688" y="329"/>
                </a:lnTo>
                <a:lnTo>
                  <a:pt x="687" y="328"/>
                </a:lnTo>
                <a:lnTo>
                  <a:pt x="686" y="328"/>
                </a:lnTo>
                <a:lnTo>
                  <a:pt x="685" y="329"/>
                </a:lnTo>
                <a:lnTo>
                  <a:pt x="685" y="331"/>
                </a:lnTo>
                <a:lnTo>
                  <a:pt x="685" y="333"/>
                </a:lnTo>
                <a:lnTo>
                  <a:pt x="684" y="336"/>
                </a:lnTo>
                <a:lnTo>
                  <a:pt x="684" y="340"/>
                </a:lnTo>
                <a:lnTo>
                  <a:pt x="683" y="344"/>
                </a:lnTo>
                <a:lnTo>
                  <a:pt x="682" y="348"/>
                </a:lnTo>
                <a:lnTo>
                  <a:pt x="681" y="354"/>
                </a:lnTo>
                <a:lnTo>
                  <a:pt x="680" y="360"/>
                </a:lnTo>
                <a:lnTo>
                  <a:pt x="679" y="367"/>
                </a:lnTo>
                <a:lnTo>
                  <a:pt x="678" y="374"/>
                </a:lnTo>
                <a:lnTo>
                  <a:pt x="676" y="382"/>
                </a:lnTo>
                <a:lnTo>
                  <a:pt x="675" y="391"/>
                </a:lnTo>
                <a:lnTo>
                  <a:pt x="673" y="400"/>
                </a:lnTo>
                <a:lnTo>
                  <a:pt x="672" y="410"/>
                </a:lnTo>
                <a:lnTo>
                  <a:pt x="670" y="420"/>
                </a:lnTo>
                <a:lnTo>
                  <a:pt x="669" y="430"/>
                </a:lnTo>
                <a:lnTo>
                  <a:pt x="667" y="441"/>
                </a:lnTo>
                <a:lnTo>
                  <a:pt x="667" y="451"/>
                </a:lnTo>
                <a:lnTo>
                  <a:pt x="666" y="461"/>
                </a:lnTo>
                <a:lnTo>
                  <a:pt x="666" y="471"/>
                </a:lnTo>
                <a:lnTo>
                  <a:pt x="665" y="480"/>
                </a:lnTo>
                <a:lnTo>
                  <a:pt x="666" y="490"/>
                </a:lnTo>
                <a:lnTo>
                  <a:pt x="666" y="500"/>
                </a:lnTo>
                <a:lnTo>
                  <a:pt x="667" y="510"/>
                </a:lnTo>
                <a:lnTo>
                  <a:pt x="667" y="519"/>
                </a:lnTo>
                <a:lnTo>
                  <a:pt x="669" y="529"/>
                </a:lnTo>
                <a:lnTo>
                  <a:pt x="670" y="538"/>
                </a:lnTo>
                <a:lnTo>
                  <a:pt x="672" y="548"/>
                </a:lnTo>
                <a:lnTo>
                  <a:pt x="674" y="557"/>
                </a:lnTo>
                <a:lnTo>
                  <a:pt x="676" y="566"/>
                </a:lnTo>
                <a:lnTo>
                  <a:pt x="678" y="575"/>
                </a:lnTo>
                <a:lnTo>
                  <a:pt x="680" y="584"/>
                </a:lnTo>
                <a:lnTo>
                  <a:pt x="683" y="593"/>
                </a:lnTo>
                <a:lnTo>
                  <a:pt x="685" y="602"/>
                </a:lnTo>
                <a:lnTo>
                  <a:pt x="688" y="610"/>
                </a:lnTo>
                <a:lnTo>
                  <a:pt x="691" y="618"/>
                </a:lnTo>
                <a:lnTo>
                  <a:pt x="693" y="626"/>
                </a:lnTo>
                <a:lnTo>
                  <a:pt x="696" y="634"/>
                </a:lnTo>
                <a:lnTo>
                  <a:pt x="699" y="642"/>
                </a:lnTo>
                <a:lnTo>
                  <a:pt x="702" y="650"/>
                </a:lnTo>
                <a:lnTo>
                  <a:pt x="705" y="657"/>
                </a:lnTo>
                <a:lnTo>
                  <a:pt x="708" y="664"/>
                </a:lnTo>
                <a:lnTo>
                  <a:pt x="712" y="671"/>
                </a:lnTo>
                <a:lnTo>
                  <a:pt x="715" y="678"/>
                </a:lnTo>
                <a:lnTo>
                  <a:pt x="718" y="684"/>
                </a:lnTo>
                <a:lnTo>
                  <a:pt x="722" y="691"/>
                </a:lnTo>
                <a:lnTo>
                  <a:pt x="725" y="697"/>
                </a:lnTo>
                <a:lnTo>
                  <a:pt x="728" y="703"/>
                </a:lnTo>
                <a:lnTo>
                  <a:pt x="731" y="708"/>
                </a:lnTo>
                <a:lnTo>
                  <a:pt x="734" y="713"/>
                </a:lnTo>
                <a:lnTo>
                  <a:pt x="737" y="718"/>
                </a:lnTo>
                <a:lnTo>
                  <a:pt x="739" y="722"/>
                </a:lnTo>
                <a:lnTo>
                  <a:pt x="741" y="725"/>
                </a:lnTo>
                <a:lnTo>
                  <a:pt x="743" y="729"/>
                </a:lnTo>
                <a:lnTo>
                  <a:pt x="745" y="732"/>
                </a:lnTo>
                <a:lnTo>
                  <a:pt x="746" y="734"/>
                </a:lnTo>
                <a:lnTo>
                  <a:pt x="747" y="737"/>
                </a:lnTo>
                <a:lnTo>
                  <a:pt x="748" y="738"/>
                </a:lnTo>
                <a:lnTo>
                  <a:pt x="749" y="740"/>
                </a:lnTo>
                <a:lnTo>
                  <a:pt x="750" y="741"/>
                </a:lnTo>
                <a:lnTo>
                  <a:pt x="750" y="742"/>
                </a:lnTo>
                <a:lnTo>
                  <a:pt x="749" y="742"/>
                </a:lnTo>
                <a:lnTo>
                  <a:pt x="748" y="743"/>
                </a:lnTo>
                <a:lnTo>
                  <a:pt x="744" y="744"/>
                </a:lnTo>
                <a:lnTo>
                  <a:pt x="740" y="746"/>
                </a:lnTo>
                <a:lnTo>
                  <a:pt x="734" y="749"/>
                </a:lnTo>
                <a:lnTo>
                  <a:pt x="727" y="752"/>
                </a:lnTo>
                <a:lnTo>
                  <a:pt x="719" y="755"/>
                </a:lnTo>
                <a:lnTo>
                  <a:pt x="710" y="760"/>
                </a:lnTo>
                <a:lnTo>
                  <a:pt x="699" y="764"/>
                </a:lnTo>
                <a:lnTo>
                  <a:pt x="687" y="770"/>
                </a:lnTo>
                <a:lnTo>
                  <a:pt x="674" y="776"/>
                </a:lnTo>
                <a:lnTo>
                  <a:pt x="660" y="782"/>
                </a:lnTo>
                <a:lnTo>
                  <a:pt x="644" y="789"/>
                </a:lnTo>
                <a:lnTo>
                  <a:pt x="627" y="797"/>
                </a:lnTo>
                <a:lnTo>
                  <a:pt x="609" y="805"/>
                </a:lnTo>
                <a:lnTo>
                  <a:pt x="589" y="813"/>
                </a:lnTo>
                <a:lnTo>
                  <a:pt x="570" y="822"/>
                </a:lnTo>
                <a:lnTo>
                  <a:pt x="551" y="830"/>
                </a:lnTo>
                <a:lnTo>
                  <a:pt x="535" y="838"/>
                </a:lnTo>
                <a:lnTo>
                  <a:pt x="519" y="845"/>
                </a:lnTo>
                <a:lnTo>
                  <a:pt x="504" y="851"/>
                </a:lnTo>
                <a:lnTo>
                  <a:pt x="491" y="857"/>
                </a:lnTo>
                <a:lnTo>
                  <a:pt x="479" y="863"/>
                </a:lnTo>
                <a:lnTo>
                  <a:pt x="469" y="867"/>
                </a:lnTo>
                <a:lnTo>
                  <a:pt x="459" y="872"/>
                </a:lnTo>
                <a:lnTo>
                  <a:pt x="451" y="875"/>
                </a:lnTo>
                <a:lnTo>
                  <a:pt x="444" y="878"/>
                </a:lnTo>
                <a:lnTo>
                  <a:pt x="438" y="881"/>
                </a:lnTo>
                <a:lnTo>
                  <a:pt x="434" y="883"/>
                </a:lnTo>
                <a:lnTo>
                  <a:pt x="431" y="884"/>
                </a:lnTo>
                <a:lnTo>
                  <a:pt x="429" y="885"/>
                </a:lnTo>
                <a:lnTo>
                  <a:pt x="428" y="885"/>
                </a:lnTo>
                <a:lnTo>
                  <a:pt x="428" y="886"/>
                </a:lnTo>
                <a:lnTo>
                  <a:pt x="428" y="888"/>
                </a:lnTo>
                <a:lnTo>
                  <a:pt x="428" y="891"/>
                </a:lnTo>
                <a:lnTo>
                  <a:pt x="427" y="896"/>
                </a:lnTo>
                <a:lnTo>
                  <a:pt x="427" y="901"/>
                </a:lnTo>
                <a:lnTo>
                  <a:pt x="426" y="909"/>
                </a:lnTo>
                <a:lnTo>
                  <a:pt x="425" y="917"/>
                </a:lnTo>
                <a:lnTo>
                  <a:pt x="424" y="927"/>
                </a:lnTo>
                <a:lnTo>
                  <a:pt x="423" y="937"/>
                </a:lnTo>
                <a:lnTo>
                  <a:pt x="422" y="950"/>
                </a:lnTo>
                <a:lnTo>
                  <a:pt x="420" y="963"/>
                </a:lnTo>
                <a:lnTo>
                  <a:pt x="419" y="978"/>
                </a:lnTo>
                <a:lnTo>
                  <a:pt x="417" y="994"/>
                </a:lnTo>
                <a:lnTo>
                  <a:pt x="415" y="1011"/>
                </a:lnTo>
                <a:lnTo>
                  <a:pt x="413" y="1030"/>
                </a:lnTo>
                <a:lnTo>
                  <a:pt x="411" y="1050"/>
                </a:lnTo>
                <a:lnTo>
                  <a:pt x="409" y="1070"/>
                </a:lnTo>
                <a:lnTo>
                  <a:pt x="407" y="1088"/>
                </a:lnTo>
                <a:lnTo>
                  <a:pt x="405" y="1105"/>
                </a:lnTo>
                <a:lnTo>
                  <a:pt x="404" y="1122"/>
                </a:lnTo>
                <a:lnTo>
                  <a:pt x="402" y="1136"/>
                </a:lnTo>
                <a:lnTo>
                  <a:pt x="401" y="1150"/>
                </a:lnTo>
                <a:lnTo>
                  <a:pt x="400" y="1162"/>
                </a:lnTo>
                <a:lnTo>
                  <a:pt x="398" y="1173"/>
                </a:lnTo>
                <a:lnTo>
                  <a:pt x="397" y="1182"/>
                </a:lnTo>
                <a:lnTo>
                  <a:pt x="397" y="1191"/>
                </a:lnTo>
                <a:lnTo>
                  <a:pt x="396" y="1198"/>
                </a:lnTo>
                <a:lnTo>
                  <a:pt x="395" y="1204"/>
                </a:lnTo>
                <a:lnTo>
                  <a:pt x="395" y="1208"/>
                </a:lnTo>
                <a:lnTo>
                  <a:pt x="394" y="1211"/>
                </a:lnTo>
                <a:lnTo>
                  <a:pt x="394" y="1213"/>
                </a:lnTo>
                <a:lnTo>
                  <a:pt x="394" y="1214"/>
                </a:lnTo>
                <a:lnTo>
                  <a:pt x="393" y="1213"/>
                </a:lnTo>
                <a:lnTo>
                  <a:pt x="392" y="1211"/>
                </a:lnTo>
                <a:lnTo>
                  <a:pt x="390" y="1209"/>
                </a:lnTo>
                <a:lnTo>
                  <a:pt x="387" y="1206"/>
                </a:lnTo>
                <a:lnTo>
                  <a:pt x="384" y="1203"/>
                </a:lnTo>
                <a:lnTo>
                  <a:pt x="381" y="1199"/>
                </a:lnTo>
                <a:lnTo>
                  <a:pt x="377" y="1194"/>
                </a:lnTo>
                <a:lnTo>
                  <a:pt x="372" y="1189"/>
                </a:lnTo>
                <a:lnTo>
                  <a:pt x="367" y="1183"/>
                </a:lnTo>
                <a:lnTo>
                  <a:pt x="361" y="1176"/>
                </a:lnTo>
                <a:lnTo>
                  <a:pt x="355" y="1169"/>
                </a:lnTo>
                <a:lnTo>
                  <a:pt x="348" y="1161"/>
                </a:lnTo>
                <a:lnTo>
                  <a:pt x="340" y="1153"/>
                </a:lnTo>
                <a:lnTo>
                  <a:pt x="332" y="1143"/>
                </a:lnTo>
                <a:lnTo>
                  <a:pt x="324" y="1134"/>
                </a:lnTo>
                <a:lnTo>
                  <a:pt x="315" y="1124"/>
                </a:lnTo>
                <a:lnTo>
                  <a:pt x="306" y="1113"/>
                </a:lnTo>
                <a:lnTo>
                  <a:pt x="298" y="1102"/>
                </a:lnTo>
                <a:lnTo>
                  <a:pt x="289" y="1091"/>
                </a:lnTo>
                <a:lnTo>
                  <a:pt x="281" y="1079"/>
                </a:lnTo>
                <a:lnTo>
                  <a:pt x="272" y="1067"/>
                </a:lnTo>
                <a:lnTo>
                  <a:pt x="264" y="1055"/>
                </a:lnTo>
                <a:lnTo>
                  <a:pt x="256" y="1042"/>
                </a:lnTo>
                <a:lnTo>
                  <a:pt x="247" y="1029"/>
                </a:lnTo>
                <a:lnTo>
                  <a:pt x="239" y="1015"/>
                </a:lnTo>
                <a:lnTo>
                  <a:pt x="231" y="1002"/>
                </a:lnTo>
                <a:lnTo>
                  <a:pt x="223" y="987"/>
                </a:lnTo>
                <a:lnTo>
                  <a:pt x="215" y="973"/>
                </a:lnTo>
                <a:lnTo>
                  <a:pt x="208" y="958"/>
                </a:lnTo>
                <a:lnTo>
                  <a:pt x="200" y="943"/>
                </a:lnTo>
                <a:lnTo>
                  <a:pt x="192" y="927"/>
                </a:lnTo>
                <a:lnTo>
                  <a:pt x="185" y="911"/>
                </a:lnTo>
                <a:lnTo>
                  <a:pt x="177" y="895"/>
                </a:lnTo>
                <a:lnTo>
                  <a:pt x="170" y="879"/>
                </a:lnTo>
                <a:lnTo>
                  <a:pt x="164" y="863"/>
                </a:lnTo>
                <a:lnTo>
                  <a:pt x="157" y="847"/>
                </a:lnTo>
                <a:lnTo>
                  <a:pt x="151" y="830"/>
                </a:lnTo>
                <a:lnTo>
                  <a:pt x="145" y="814"/>
                </a:lnTo>
                <a:lnTo>
                  <a:pt x="139" y="798"/>
                </a:lnTo>
                <a:lnTo>
                  <a:pt x="134" y="781"/>
                </a:lnTo>
                <a:lnTo>
                  <a:pt x="129" y="764"/>
                </a:lnTo>
                <a:lnTo>
                  <a:pt x="124" y="748"/>
                </a:lnTo>
                <a:lnTo>
                  <a:pt x="119" y="731"/>
                </a:lnTo>
                <a:lnTo>
                  <a:pt x="115" y="714"/>
                </a:lnTo>
                <a:lnTo>
                  <a:pt x="111" y="697"/>
                </a:lnTo>
                <a:lnTo>
                  <a:pt x="107" y="680"/>
                </a:lnTo>
                <a:lnTo>
                  <a:pt x="104" y="662"/>
                </a:lnTo>
                <a:lnTo>
                  <a:pt x="100" y="645"/>
                </a:lnTo>
                <a:lnTo>
                  <a:pt x="97" y="628"/>
                </a:lnTo>
                <a:lnTo>
                  <a:pt x="95" y="611"/>
                </a:lnTo>
                <a:lnTo>
                  <a:pt x="93" y="594"/>
                </a:lnTo>
                <a:lnTo>
                  <a:pt x="91" y="577"/>
                </a:lnTo>
                <a:lnTo>
                  <a:pt x="89" y="560"/>
                </a:lnTo>
                <a:lnTo>
                  <a:pt x="88" y="543"/>
                </a:lnTo>
                <a:lnTo>
                  <a:pt x="86" y="526"/>
                </a:lnTo>
                <a:lnTo>
                  <a:pt x="86" y="509"/>
                </a:lnTo>
                <a:lnTo>
                  <a:pt x="85" y="492"/>
                </a:lnTo>
                <a:lnTo>
                  <a:pt x="85" y="475"/>
                </a:lnTo>
                <a:lnTo>
                  <a:pt x="85" y="459"/>
                </a:lnTo>
                <a:lnTo>
                  <a:pt x="86" y="442"/>
                </a:lnTo>
                <a:lnTo>
                  <a:pt x="87" y="425"/>
                </a:lnTo>
                <a:lnTo>
                  <a:pt x="88" y="408"/>
                </a:lnTo>
                <a:lnTo>
                  <a:pt x="90" y="392"/>
                </a:lnTo>
                <a:lnTo>
                  <a:pt x="91" y="375"/>
                </a:lnTo>
                <a:lnTo>
                  <a:pt x="93" y="359"/>
                </a:lnTo>
                <a:lnTo>
                  <a:pt x="95" y="343"/>
                </a:lnTo>
                <a:lnTo>
                  <a:pt x="97" y="327"/>
                </a:lnTo>
                <a:lnTo>
                  <a:pt x="100" y="311"/>
                </a:lnTo>
                <a:lnTo>
                  <a:pt x="102" y="295"/>
                </a:lnTo>
                <a:lnTo>
                  <a:pt x="105" y="280"/>
                </a:lnTo>
                <a:lnTo>
                  <a:pt x="108" y="264"/>
                </a:lnTo>
                <a:lnTo>
                  <a:pt x="111" y="249"/>
                </a:lnTo>
                <a:lnTo>
                  <a:pt x="114" y="234"/>
                </a:lnTo>
                <a:lnTo>
                  <a:pt x="117" y="219"/>
                </a:lnTo>
                <a:lnTo>
                  <a:pt x="121" y="205"/>
                </a:lnTo>
                <a:lnTo>
                  <a:pt x="125" y="190"/>
                </a:lnTo>
                <a:lnTo>
                  <a:pt x="129" y="176"/>
                </a:lnTo>
                <a:lnTo>
                  <a:pt x="133" y="162"/>
                </a:lnTo>
                <a:lnTo>
                  <a:pt x="137" y="148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1" name="Freeform 7"/>
          <p:cNvSpPr>
            <a:spLocks noChangeAspect="1"/>
          </p:cNvSpPr>
          <p:nvPr/>
        </p:nvSpPr>
        <p:spPr bwMode="auto">
          <a:xfrm>
            <a:off x="2910392" y="1414128"/>
            <a:ext cx="2111329" cy="1617469"/>
          </a:xfrm>
          <a:custGeom>
            <a:avLst/>
            <a:gdLst>
              <a:gd name="T0" fmla="*/ 2147483647 w 1173"/>
              <a:gd name="T1" fmla="*/ 494731587 h 915"/>
              <a:gd name="T2" fmla="*/ 2147483647 w 1173"/>
              <a:gd name="T3" fmla="*/ 487953739 h 915"/>
              <a:gd name="T4" fmla="*/ 2147483647 w 1173"/>
              <a:gd name="T5" fmla="*/ 487953739 h 915"/>
              <a:gd name="T6" fmla="*/ 2147483647 w 1173"/>
              <a:gd name="T7" fmla="*/ 440514211 h 915"/>
              <a:gd name="T8" fmla="*/ 2147483647 w 1173"/>
              <a:gd name="T9" fmla="*/ 325301841 h 915"/>
              <a:gd name="T10" fmla="*/ 2147483647 w 1173"/>
              <a:gd name="T11" fmla="*/ 162651841 h 915"/>
              <a:gd name="T12" fmla="*/ 2147483647 w 1173"/>
              <a:gd name="T13" fmla="*/ 47439428 h 915"/>
              <a:gd name="T14" fmla="*/ 2147483647 w 1173"/>
              <a:gd name="T15" fmla="*/ 0 h 915"/>
              <a:gd name="T16" fmla="*/ 2147483647 w 1173"/>
              <a:gd name="T17" fmla="*/ 71160069 h 915"/>
              <a:gd name="T18" fmla="*/ 2147483647 w 1173"/>
              <a:gd name="T19" fmla="*/ 349022468 h 915"/>
              <a:gd name="T20" fmla="*/ 2147483647 w 1173"/>
              <a:gd name="T21" fmla="*/ 830200084 h 915"/>
              <a:gd name="T22" fmla="*/ 2147483647 w 1173"/>
              <a:gd name="T23" fmla="*/ 1250382707 h 915"/>
              <a:gd name="T24" fmla="*/ 2147483647 w 1173"/>
              <a:gd name="T25" fmla="*/ 1457084979 h 915"/>
              <a:gd name="T26" fmla="*/ 2147483647 w 1173"/>
              <a:gd name="T27" fmla="*/ 1511302241 h 915"/>
              <a:gd name="T28" fmla="*/ 2147483647 w 1173"/>
              <a:gd name="T29" fmla="*/ 1718004513 h 915"/>
              <a:gd name="T30" fmla="*/ 2147483647 w 1173"/>
              <a:gd name="T31" fmla="*/ 2134798442 h 915"/>
              <a:gd name="T32" fmla="*/ 2147483647 w 1173"/>
              <a:gd name="T33" fmla="*/ 2147483647 h 915"/>
              <a:gd name="T34" fmla="*/ 2147483647 w 1173"/>
              <a:gd name="T35" fmla="*/ 2147483647 h 915"/>
              <a:gd name="T36" fmla="*/ 2147483647 w 1173"/>
              <a:gd name="T37" fmla="*/ 2147483647 h 915"/>
              <a:gd name="T38" fmla="*/ 2147483647 w 1173"/>
              <a:gd name="T39" fmla="*/ 2147483647 h 915"/>
              <a:gd name="T40" fmla="*/ 2147483647 w 1173"/>
              <a:gd name="T41" fmla="*/ 2147483647 h 915"/>
              <a:gd name="T42" fmla="*/ 2147483647 w 1173"/>
              <a:gd name="T43" fmla="*/ 2147483647 h 915"/>
              <a:gd name="T44" fmla="*/ 2147483647 w 1173"/>
              <a:gd name="T45" fmla="*/ 2147483647 h 915"/>
              <a:gd name="T46" fmla="*/ 2147483647 w 1173"/>
              <a:gd name="T47" fmla="*/ 2147483647 h 915"/>
              <a:gd name="T48" fmla="*/ 2147483647 w 1173"/>
              <a:gd name="T49" fmla="*/ 2147483647 h 915"/>
              <a:gd name="T50" fmla="*/ 2147483647 w 1173"/>
              <a:gd name="T51" fmla="*/ 2147483647 h 915"/>
              <a:gd name="T52" fmla="*/ 2147483647 w 1173"/>
              <a:gd name="T53" fmla="*/ 2147483647 h 915"/>
              <a:gd name="T54" fmla="*/ 2147483647 w 1173"/>
              <a:gd name="T55" fmla="*/ 2147483647 h 915"/>
              <a:gd name="T56" fmla="*/ 2147483647 w 1173"/>
              <a:gd name="T57" fmla="*/ 2147483647 h 915"/>
              <a:gd name="T58" fmla="*/ 2147483647 w 1173"/>
              <a:gd name="T59" fmla="*/ 2147483647 h 915"/>
              <a:gd name="T60" fmla="*/ 2147483647 w 1173"/>
              <a:gd name="T61" fmla="*/ 2147483647 h 915"/>
              <a:gd name="T62" fmla="*/ 2042804273 w 1173"/>
              <a:gd name="T63" fmla="*/ 2147483647 h 915"/>
              <a:gd name="T64" fmla="*/ 1947946356 w 1173"/>
              <a:gd name="T65" fmla="*/ 2147483647 h 915"/>
              <a:gd name="T66" fmla="*/ 1893742686 w 1173"/>
              <a:gd name="T67" fmla="*/ 2147483647 h 915"/>
              <a:gd name="T68" fmla="*/ 1880192344 w 1173"/>
              <a:gd name="T69" fmla="*/ 2147483647 h 915"/>
              <a:gd name="T70" fmla="*/ 1802273275 w 1173"/>
              <a:gd name="T71" fmla="*/ 2147483647 h 915"/>
              <a:gd name="T72" fmla="*/ 1612561122 w 1173"/>
              <a:gd name="T73" fmla="*/ 2147483647 h 915"/>
              <a:gd name="T74" fmla="*/ 1338154729 w 1173"/>
              <a:gd name="T75" fmla="*/ 2147483647 h 915"/>
              <a:gd name="T76" fmla="*/ 1148440736 w 1173"/>
              <a:gd name="T77" fmla="*/ 2147483647 h 915"/>
              <a:gd name="T78" fmla="*/ 1070523507 w 1173"/>
              <a:gd name="T79" fmla="*/ 2147483647 h 915"/>
              <a:gd name="T80" fmla="*/ 1016320298 w 1173"/>
              <a:gd name="T81" fmla="*/ 2147483647 h 915"/>
              <a:gd name="T82" fmla="*/ 816444238 w 1173"/>
              <a:gd name="T83" fmla="*/ 2147483647 h 915"/>
              <a:gd name="T84" fmla="*/ 470895673 w 1173"/>
              <a:gd name="T85" fmla="*/ 2147483647 h 915"/>
              <a:gd name="T86" fmla="*/ 169386697 w 1173"/>
              <a:gd name="T87" fmla="*/ 2147483647 h 915"/>
              <a:gd name="T88" fmla="*/ 20325520 w 1173"/>
              <a:gd name="T89" fmla="*/ 2147483647 h 915"/>
              <a:gd name="T90" fmla="*/ 6775173 w 1173"/>
              <a:gd name="T91" fmla="*/ 2147483647 h 915"/>
              <a:gd name="T92" fmla="*/ 47428053 w 1173"/>
              <a:gd name="T93" fmla="*/ 2147483647 h 915"/>
              <a:gd name="T94" fmla="*/ 132122336 w 1173"/>
              <a:gd name="T95" fmla="*/ 2147483647 h 915"/>
              <a:gd name="T96" fmla="*/ 257467660 w 1173"/>
              <a:gd name="T97" fmla="*/ 1999256210 h 915"/>
              <a:gd name="T98" fmla="*/ 426854300 w 1173"/>
              <a:gd name="T99" fmla="*/ 1778999622 h 915"/>
              <a:gd name="T100" fmla="*/ 633505416 w 1173"/>
              <a:gd name="T101" fmla="*/ 1538409951 h 915"/>
              <a:gd name="T102" fmla="*/ 874035953 w 1173"/>
              <a:gd name="T103" fmla="*/ 1307987051 h 915"/>
              <a:gd name="T104" fmla="*/ 1141665565 w 1173"/>
              <a:gd name="T105" fmla="*/ 1104673703 h 915"/>
              <a:gd name="T106" fmla="*/ 1433010806 w 1173"/>
              <a:gd name="T107" fmla="*/ 925078911 h 915"/>
              <a:gd name="T108" fmla="*/ 1734519724 w 1173"/>
              <a:gd name="T109" fmla="*/ 775982823 h 915"/>
              <a:gd name="T110" fmla="*/ 2049579444 w 1173"/>
              <a:gd name="T111" fmla="*/ 657381529 h 915"/>
              <a:gd name="T112" fmla="*/ 2147483647 w 1173"/>
              <a:gd name="T113" fmla="*/ 572667634 h 915"/>
              <a:gd name="T114" fmla="*/ 2147483647 w 1173"/>
              <a:gd name="T115" fmla="*/ 521839297 h 915"/>
              <a:gd name="T116" fmla="*/ 2147483647 w 1173"/>
              <a:gd name="T117" fmla="*/ 501507594 h 91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73"/>
              <a:gd name="T178" fmla="*/ 0 h 915"/>
              <a:gd name="T179" fmla="*/ 1173 w 1173"/>
              <a:gd name="T180" fmla="*/ 915 h 91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73" h="915">
                <a:moveTo>
                  <a:pt x="834" y="148"/>
                </a:moveTo>
                <a:lnTo>
                  <a:pt x="844" y="148"/>
                </a:lnTo>
                <a:lnTo>
                  <a:pt x="854" y="147"/>
                </a:lnTo>
                <a:lnTo>
                  <a:pt x="863" y="147"/>
                </a:lnTo>
                <a:lnTo>
                  <a:pt x="872" y="146"/>
                </a:lnTo>
                <a:lnTo>
                  <a:pt x="880" y="146"/>
                </a:lnTo>
                <a:lnTo>
                  <a:pt x="887" y="146"/>
                </a:lnTo>
                <a:lnTo>
                  <a:pt x="893" y="145"/>
                </a:lnTo>
                <a:lnTo>
                  <a:pt x="899" y="145"/>
                </a:lnTo>
                <a:lnTo>
                  <a:pt x="904" y="145"/>
                </a:lnTo>
                <a:lnTo>
                  <a:pt x="909" y="145"/>
                </a:lnTo>
                <a:lnTo>
                  <a:pt x="912" y="144"/>
                </a:lnTo>
                <a:lnTo>
                  <a:pt x="916" y="144"/>
                </a:lnTo>
                <a:lnTo>
                  <a:pt x="918" y="144"/>
                </a:lnTo>
                <a:lnTo>
                  <a:pt x="920" y="144"/>
                </a:lnTo>
                <a:lnTo>
                  <a:pt x="921" y="144"/>
                </a:lnTo>
                <a:lnTo>
                  <a:pt x="921" y="143"/>
                </a:lnTo>
                <a:lnTo>
                  <a:pt x="921" y="141"/>
                </a:lnTo>
                <a:lnTo>
                  <a:pt x="921" y="139"/>
                </a:lnTo>
                <a:lnTo>
                  <a:pt x="921" y="137"/>
                </a:lnTo>
                <a:lnTo>
                  <a:pt x="921" y="134"/>
                </a:lnTo>
                <a:lnTo>
                  <a:pt x="921" y="130"/>
                </a:lnTo>
                <a:lnTo>
                  <a:pt x="921" y="126"/>
                </a:lnTo>
                <a:lnTo>
                  <a:pt x="921" y="121"/>
                </a:lnTo>
                <a:lnTo>
                  <a:pt x="921" y="116"/>
                </a:lnTo>
                <a:lnTo>
                  <a:pt x="921" y="110"/>
                </a:lnTo>
                <a:lnTo>
                  <a:pt x="921" y="103"/>
                </a:lnTo>
                <a:lnTo>
                  <a:pt x="921" y="96"/>
                </a:lnTo>
                <a:lnTo>
                  <a:pt x="921" y="89"/>
                </a:lnTo>
                <a:lnTo>
                  <a:pt x="921" y="81"/>
                </a:lnTo>
                <a:lnTo>
                  <a:pt x="921" y="72"/>
                </a:lnTo>
                <a:lnTo>
                  <a:pt x="921" y="63"/>
                </a:lnTo>
                <a:lnTo>
                  <a:pt x="921" y="55"/>
                </a:lnTo>
                <a:lnTo>
                  <a:pt x="921" y="48"/>
                </a:lnTo>
                <a:lnTo>
                  <a:pt x="921" y="40"/>
                </a:lnTo>
                <a:lnTo>
                  <a:pt x="921" y="34"/>
                </a:lnTo>
                <a:lnTo>
                  <a:pt x="921" y="28"/>
                </a:lnTo>
                <a:lnTo>
                  <a:pt x="921" y="23"/>
                </a:lnTo>
                <a:lnTo>
                  <a:pt x="921" y="18"/>
                </a:lnTo>
                <a:lnTo>
                  <a:pt x="921" y="14"/>
                </a:lnTo>
                <a:lnTo>
                  <a:pt x="921" y="10"/>
                </a:lnTo>
                <a:lnTo>
                  <a:pt x="921" y="7"/>
                </a:lnTo>
                <a:lnTo>
                  <a:pt x="921" y="5"/>
                </a:lnTo>
                <a:lnTo>
                  <a:pt x="921" y="3"/>
                </a:lnTo>
                <a:lnTo>
                  <a:pt x="921" y="1"/>
                </a:lnTo>
                <a:lnTo>
                  <a:pt x="921" y="0"/>
                </a:lnTo>
                <a:lnTo>
                  <a:pt x="922" y="1"/>
                </a:lnTo>
                <a:lnTo>
                  <a:pt x="923" y="3"/>
                </a:lnTo>
                <a:lnTo>
                  <a:pt x="925" y="8"/>
                </a:lnTo>
                <a:lnTo>
                  <a:pt x="929" y="14"/>
                </a:lnTo>
                <a:lnTo>
                  <a:pt x="933" y="21"/>
                </a:lnTo>
                <a:lnTo>
                  <a:pt x="939" y="31"/>
                </a:lnTo>
                <a:lnTo>
                  <a:pt x="945" y="42"/>
                </a:lnTo>
                <a:lnTo>
                  <a:pt x="952" y="55"/>
                </a:lnTo>
                <a:lnTo>
                  <a:pt x="961" y="69"/>
                </a:lnTo>
                <a:lnTo>
                  <a:pt x="970" y="86"/>
                </a:lnTo>
                <a:lnTo>
                  <a:pt x="980" y="103"/>
                </a:lnTo>
                <a:lnTo>
                  <a:pt x="992" y="123"/>
                </a:lnTo>
                <a:lnTo>
                  <a:pt x="1004" y="145"/>
                </a:lnTo>
                <a:lnTo>
                  <a:pt x="1017" y="168"/>
                </a:lnTo>
                <a:lnTo>
                  <a:pt x="1031" y="192"/>
                </a:lnTo>
                <a:lnTo>
                  <a:pt x="1047" y="219"/>
                </a:lnTo>
                <a:lnTo>
                  <a:pt x="1062" y="245"/>
                </a:lnTo>
                <a:lnTo>
                  <a:pt x="1076" y="270"/>
                </a:lnTo>
                <a:lnTo>
                  <a:pt x="1089" y="293"/>
                </a:lnTo>
                <a:lnTo>
                  <a:pt x="1102" y="315"/>
                </a:lnTo>
                <a:lnTo>
                  <a:pt x="1113" y="334"/>
                </a:lnTo>
                <a:lnTo>
                  <a:pt x="1123" y="352"/>
                </a:lnTo>
                <a:lnTo>
                  <a:pt x="1133" y="369"/>
                </a:lnTo>
                <a:lnTo>
                  <a:pt x="1141" y="383"/>
                </a:lnTo>
                <a:lnTo>
                  <a:pt x="1148" y="396"/>
                </a:lnTo>
                <a:lnTo>
                  <a:pt x="1155" y="407"/>
                </a:lnTo>
                <a:lnTo>
                  <a:pt x="1160" y="417"/>
                </a:lnTo>
                <a:lnTo>
                  <a:pt x="1165" y="424"/>
                </a:lnTo>
                <a:lnTo>
                  <a:pt x="1168" y="430"/>
                </a:lnTo>
                <a:lnTo>
                  <a:pt x="1170" y="434"/>
                </a:lnTo>
                <a:lnTo>
                  <a:pt x="1172" y="437"/>
                </a:lnTo>
                <a:lnTo>
                  <a:pt x="1172" y="438"/>
                </a:lnTo>
                <a:lnTo>
                  <a:pt x="1172" y="439"/>
                </a:lnTo>
                <a:lnTo>
                  <a:pt x="1170" y="441"/>
                </a:lnTo>
                <a:lnTo>
                  <a:pt x="1168" y="446"/>
                </a:lnTo>
                <a:lnTo>
                  <a:pt x="1165" y="452"/>
                </a:lnTo>
                <a:lnTo>
                  <a:pt x="1160" y="459"/>
                </a:lnTo>
                <a:lnTo>
                  <a:pt x="1155" y="469"/>
                </a:lnTo>
                <a:lnTo>
                  <a:pt x="1148" y="480"/>
                </a:lnTo>
                <a:lnTo>
                  <a:pt x="1141" y="493"/>
                </a:lnTo>
                <a:lnTo>
                  <a:pt x="1133" y="507"/>
                </a:lnTo>
                <a:lnTo>
                  <a:pt x="1123" y="523"/>
                </a:lnTo>
                <a:lnTo>
                  <a:pt x="1113" y="541"/>
                </a:lnTo>
                <a:lnTo>
                  <a:pt x="1102" y="561"/>
                </a:lnTo>
                <a:lnTo>
                  <a:pt x="1089" y="582"/>
                </a:lnTo>
                <a:lnTo>
                  <a:pt x="1076" y="606"/>
                </a:lnTo>
                <a:lnTo>
                  <a:pt x="1062" y="630"/>
                </a:lnTo>
                <a:lnTo>
                  <a:pt x="1047" y="657"/>
                </a:lnTo>
                <a:lnTo>
                  <a:pt x="1031" y="683"/>
                </a:lnTo>
                <a:lnTo>
                  <a:pt x="1017" y="708"/>
                </a:lnTo>
                <a:lnTo>
                  <a:pt x="1004" y="731"/>
                </a:lnTo>
                <a:lnTo>
                  <a:pt x="992" y="753"/>
                </a:lnTo>
                <a:lnTo>
                  <a:pt x="980" y="772"/>
                </a:lnTo>
                <a:lnTo>
                  <a:pt x="970" y="790"/>
                </a:lnTo>
                <a:lnTo>
                  <a:pt x="961" y="806"/>
                </a:lnTo>
                <a:lnTo>
                  <a:pt x="952" y="821"/>
                </a:lnTo>
                <a:lnTo>
                  <a:pt x="945" y="834"/>
                </a:lnTo>
                <a:lnTo>
                  <a:pt x="939" y="845"/>
                </a:lnTo>
                <a:lnTo>
                  <a:pt x="933" y="854"/>
                </a:lnTo>
                <a:lnTo>
                  <a:pt x="929" y="862"/>
                </a:lnTo>
                <a:lnTo>
                  <a:pt x="925" y="868"/>
                </a:lnTo>
                <a:lnTo>
                  <a:pt x="923" y="872"/>
                </a:lnTo>
                <a:lnTo>
                  <a:pt x="921" y="875"/>
                </a:lnTo>
                <a:lnTo>
                  <a:pt x="921" y="876"/>
                </a:lnTo>
                <a:lnTo>
                  <a:pt x="921" y="875"/>
                </a:lnTo>
                <a:lnTo>
                  <a:pt x="921" y="873"/>
                </a:lnTo>
                <a:lnTo>
                  <a:pt x="921" y="871"/>
                </a:lnTo>
                <a:lnTo>
                  <a:pt x="921" y="869"/>
                </a:lnTo>
                <a:lnTo>
                  <a:pt x="921" y="865"/>
                </a:lnTo>
                <a:lnTo>
                  <a:pt x="921" y="862"/>
                </a:lnTo>
                <a:lnTo>
                  <a:pt x="921" y="857"/>
                </a:lnTo>
                <a:lnTo>
                  <a:pt x="921" y="852"/>
                </a:lnTo>
                <a:lnTo>
                  <a:pt x="921" y="847"/>
                </a:lnTo>
                <a:lnTo>
                  <a:pt x="921" y="841"/>
                </a:lnTo>
                <a:lnTo>
                  <a:pt x="921" y="834"/>
                </a:lnTo>
                <a:lnTo>
                  <a:pt x="921" y="827"/>
                </a:lnTo>
                <a:lnTo>
                  <a:pt x="921" y="819"/>
                </a:lnTo>
                <a:lnTo>
                  <a:pt x="921" y="811"/>
                </a:lnTo>
                <a:lnTo>
                  <a:pt x="921" y="802"/>
                </a:lnTo>
                <a:lnTo>
                  <a:pt x="921" y="793"/>
                </a:lnTo>
                <a:lnTo>
                  <a:pt x="921" y="784"/>
                </a:lnTo>
                <a:lnTo>
                  <a:pt x="921" y="777"/>
                </a:lnTo>
                <a:lnTo>
                  <a:pt x="921" y="769"/>
                </a:lnTo>
                <a:lnTo>
                  <a:pt x="921" y="763"/>
                </a:lnTo>
                <a:lnTo>
                  <a:pt x="921" y="757"/>
                </a:lnTo>
                <a:lnTo>
                  <a:pt x="921" y="751"/>
                </a:lnTo>
                <a:lnTo>
                  <a:pt x="921" y="746"/>
                </a:lnTo>
                <a:lnTo>
                  <a:pt x="921" y="742"/>
                </a:lnTo>
                <a:lnTo>
                  <a:pt x="921" y="738"/>
                </a:lnTo>
                <a:lnTo>
                  <a:pt x="921" y="735"/>
                </a:lnTo>
                <a:lnTo>
                  <a:pt x="921" y="732"/>
                </a:lnTo>
                <a:lnTo>
                  <a:pt x="921" y="730"/>
                </a:lnTo>
                <a:lnTo>
                  <a:pt x="921" y="729"/>
                </a:lnTo>
                <a:lnTo>
                  <a:pt x="921" y="728"/>
                </a:lnTo>
                <a:lnTo>
                  <a:pt x="920" y="728"/>
                </a:lnTo>
                <a:lnTo>
                  <a:pt x="919" y="728"/>
                </a:lnTo>
                <a:lnTo>
                  <a:pt x="917" y="728"/>
                </a:lnTo>
                <a:lnTo>
                  <a:pt x="915" y="728"/>
                </a:lnTo>
                <a:lnTo>
                  <a:pt x="913" y="728"/>
                </a:lnTo>
                <a:lnTo>
                  <a:pt x="909" y="729"/>
                </a:lnTo>
                <a:lnTo>
                  <a:pt x="906" y="729"/>
                </a:lnTo>
                <a:lnTo>
                  <a:pt x="902" y="729"/>
                </a:lnTo>
                <a:lnTo>
                  <a:pt x="897" y="729"/>
                </a:lnTo>
                <a:lnTo>
                  <a:pt x="892" y="730"/>
                </a:lnTo>
                <a:lnTo>
                  <a:pt x="887" y="730"/>
                </a:lnTo>
                <a:lnTo>
                  <a:pt x="881" y="730"/>
                </a:lnTo>
                <a:lnTo>
                  <a:pt x="875" y="731"/>
                </a:lnTo>
                <a:lnTo>
                  <a:pt x="868" y="731"/>
                </a:lnTo>
                <a:lnTo>
                  <a:pt x="861" y="732"/>
                </a:lnTo>
                <a:lnTo>
                  <a:pt x="853" y="732"/>
                </a:lnTo>
                <a:lnTo>
                  <a:pt x="845" y="733"/>
                </a:lnTo>
                <a:lnTo>
                  <a:pt x="837" y="735"/>
                </a:lnTo>
                <a:lnTo>
                  <a:pt x="829" y="736"/>
                </a:lnTo>
                <a:lnTo>
                  <a:pt x="821" y="738"/>
                </a:lnTo>
                <a:lnTo>
                  <a:pt x="813" y="740"/>
                </a:lnTo>
                <a:lnTo>
                  <a:pt x="804" y="742"/>
                </a:lnTo>
                <a:lnTo>
                  <a:pt x="795" y="745"/>
                </a:lnTo>
                <a:lnTo>
                  <a:pt x="786" y="748"/>
                </a:lnTo>
                <a:lnTo>
                  <a:pt x="777" y="751"/>
                </a:lnTo>
                <a:lnTo>
                  <a:pt x="768" y="755"/>
                </a:lnTo>
                <a:lnTo>
                  <a:pt x="759" y="758"/>
                </a:lnTo>
                <a:lnTo>
                  <a:pt x="749" y="763"/>
                </a:lnTo>
                <a:lnTo>
                  <a:pt x="740" y="767"/>
                </a:lnTo>
                <a:lnTo>
                  <a:pt x="730" y="772"/>
                </a:lnTo>
                <a:lnTo>
                  <a:pt x="720" y="776"/>
                </a:lnTo>
                <a:lnTo>
                  <a:pt x="710" y="782"/>
                </a:lnTo>
                <a:lnTo>
                  <a:pt x="700" y="787"/>
                </a:lnTo>
                <a:lnTo>
                  <a:pt x="691" y="792"/>
                </a:lnTo>
                <a:lnTo>
                  <a:pt x="682" y="797"/>
                </a:lnTo>
                <a:lnTo>
                  <a:pt x="673" y="803"/>
                </a:lnTo>
                <a:lnTo>
                  <a:pt x="665" y="808"/>
                </a:lnTo>
                <a:lnTo>
                  <a:pt x="657" y="813"/>
                </a:lnTo>
                <a:lnTo>
                  <a:pt x="649" y="819"/>
                </a:lnTo>
                <a:lnTo>
                  <a:pt x="642" y="825"/>
                </a:lnTo>
                <a:lnTo>
                  <a:pt x="634" y="830"/>
                </a:lnTo>
                <a:lnTo>
                  <a:pt x="627" y="836"/>
                </a:lnTo>
                <a:lnTo>
                  <a:pt x="621" y="842"/>
                </a:lnTo>
                <a:lnTo>
                  <a:pt x="614" y="848"/>
                </a:lnTo>
                <a:lnTo>
                  <a:pt x="608" y="854"/>
                </a:lnTo>
                <a:lnTo>
                  <a:pt x="603" y="860"/>
                </a:lnTo>
                <a:lnTo>
                  <a:pt x="597" y="866"/>
                </a:lnTo>
                <a:lnTo>
                  <a:pt x="592" y="872"/>
                </a:lnTo>
                <a:lnTo>
                  <a:pt x="587" y="877"/>
                </a:lnTo>
                <a:lnTo>
                  <a:pt x="583" y="882"/>
                </a:lnTo>
                <a:lnTo>
                  <a:pt x="579" y="887"/>
                </a:lnTo>
                <a:lnTo>
                  <a:pt x="575" y="891"/>
                </a:lnTo>
                <a:lnTo>
                  <a:pt x="572" y="895"/>
                </a:lnTo>
                <a:lnTo>
                  <a:pt x="568" y="899"/>
                </a:lnTo>
                <a:lnTo>
                  <a:pt x="566" y="902"/>
                </a:lnTo>
                <a:lnTo>
                  <a:pt x="563" y="905"/>
                </a:lnTo>
                <a:lnTo>
                  <a:pt x="561" y="907"/>
                </a:lnTo>
                <a:lnTo>
                  <a:pt x="559" y="910"/>
                </a:lnTo>
                <a:lnTo>
                  <a:pt x="558" y="911"/>
                </a:lnTo>
                <a:lnTo>
                  <a:pt x="557" y="913"/>
                </a:lnTo>
                <a:lnTo>
                  <a:pt x="556" y="914"/>
                </a:lnTo>
                <a:lnTo>
                  <a:pt x="555" y="914"/>
                </a:lnTo>
                <a:lnTo>
                  <a:pt x="553" y="912"/>
                </a:lnTo>
                <a:lnTo>
                  <a:pt x="551" y="910"/>
                </a:lnTo>
                <a:lnTo>
                  <a:pt x="548" y="906"/>
                </a:lnTo>
                <a:lnTo>
                  <a:pt x="543" y="901"/>
                </a:lnTo>
                <a:lnTo>
                  <a:pt x="538" y="896"/>
                </a:lnTo>
                <a:lnTo>
                  <a:pt x="532" y="889"/>
                </a:lnTo>
                <a:lnTo>
                  <a:pt x="525" y="881"/>
                </a:lnTo>
                <a:lnTo>
                  <a:pt x="517" y="872"/>
                </a:lnTo>
                <a:lnTo>
                  <a:pt x="508" y="862"/>
                </a:lnTo>
                <a:lnTo>
                  <a:pt x="499" y="852"/>
                </a:lnTo>
                <a:lnTo>
                  <a:pt x="488" y="840"/>
                </a:lnTo>
                <a:lnTo>
                  <a:pt x="476" y="827"/>
                </a:lnTo>
                <a:lnTo>
                  <a:pt x="463" y="813"/>
                </a:lnTo>
                <a:lnTo>
                  <a:pt x="450" y="798"/>
                </a:lnTo>
                <a:lnTo>
                  <a:pt x="435" y="782"/>
                </a:lnTo>
                <a:lnTo>
                  <a:pt x="421" y="765"/>
                </a:lnTo>
                <a:lnTo>
                  <a:pt x="407" y="750"/>
                </a:lnTo>
                <a:lnTo>
                  <a:pt x="395" y="736"/>
                </a:lnTo>
                <a:lnTo>
                  <a:pt x="383" y="723"/>
                </a:lnTo>
                <a:lnTo>
                  <a:pt x="372" y="711"/>
                </a:lnTo>
                <a:lnTo>
                  <a:pt x="363" y="701"/>
                </a:lnTo>
                <a:lnTo>
                  <a:pt x="354" y="691"/>
                </a:lnTo>
                <a:lnTo>
                  <a:pt x="346" y="682"/>
                </a:lnTo>
                <a:lnTo>
                  <a:pt x="339" y="674"/>
                </a:lnTo>
                <a:lnTo>
                  <a:pt x="333" y="667"/>
                </a:lnTo>
                <a:lnTo>
                  <a:pt x="327" y="662"/>
                </a:lnTo>
                <a:lnTo>
                  <a:pt x="323" y="657"/>
                </a:lnTo>
                <a:lnTo>
                  <a:pt x="320" y="653"/>
                </a:lnTo>
                <a:lnTo>
                  <a:pt x="318" y="651"/>
                </a:lnTo>
                <a:lnTo>
                  <a:pt x="316" y="649"/>
                </a:lnTo>
                <a:lnTo>
                  <a:pt x="315" y="649"/>
                </a:lnTo>
                <a:lnTo>
                  <a:pt x="313" y="649"/>
                </a:lnTo>
                <a:lnTo>
                  <a:pt x="310" y="650"/>
                </a:lnTo>
                <a:lnTo>
                  <a:pt x="306" y="651"/>
                </a:lnTo>
                <a:lnTo>
                  <a:pt x="300" y="652"/>
                </a:lnTo>
                <a:lnTo>
                  <a:pt x="294" y="653"/>
                </a:lnTo>
                <a:lnTo>
                  <a:pt x="286" y="655"/>
                </a:lnTo>
                <a:lnTo>
                  <a:pt x="276" y="657"/>
                </a:lnTo>
                <a:lnTo>
                  <a:pt x="266" y="659"/>
                </a:lnTo>
                <a:lnTo>
                  <a:pt x="254" y="662"/>
                </a:lnTo>
                <a:lnTo>
                  <a:pt x="241" y="665"/>
                </a:lnTo>
                <a:lnTo>
                  <a:pt x="227" y="668"/>
                </a:lnTo>
                <a:lnTo>
                  <a:pt x="212" y="671"/>
                </a:lnTo>
                <a:lnTo>
                  <a:pt x="195" y="674"/>
                </a:lnTo>
                <a:lnTo>
                  <a:pt x="177" y="678"/>
                </a:lnTo>
                <a:lnTo>
                  <a:pt x="158" y="682"/>
                </a:lnTo>
                <a:lnTo>
                  <a:pt x="139" y="686"/>
                </a:lnTo>
                <a:lnTo>
                  <a:pt x="121" y="690"/>
                </a:lnTo>
                <a:lnTo>
                  <a:pt x="104" y="694"/>
                </a:lnTo>
                <a:lnTo>
                  <a:pt x="89" y="697"/>
                </a:lnTo>
                <a:lnTo>
                  <a:pt x="75" y="700"/>
                </a:lnTo>
                <a:lnTo>
                  <a:pt x="62" y="703"/>
                </a:lnTo>
                <a:lnTo>
                  <a:pt x="50" y="705"/>
                </a:lnTo>
                <a:lnTo>
                  <a:pt x="40" y="707"/>
                </a:lnTo>
                <a:lnTo>
                  <a:pt x="30" y="709"/>
                </a:lnTo>
                <a:lnTo>
                  <a:pt x="22" y="711"/>
                </a:lnTo>
                <a:lnTo>
                  <a:pt x="15" y="712"/>
                </a:lnTo>
                <a:lnTo>
                  <a:pt x="10" y="714"/>
                </a:lnTo>
                <a:lnTo>
                  <a:pt x="6" y="714"/>
                </a:lnTo>
                <a:lnTo>
                  <a:pt x="3" y="715"/>
                </a:lnTo>
                <a:lnTo>
                  <a:pt x="1" y="715"/>
                </a:lnTo>
                <a:lnTo>
                  <a:pt x="0" y="716"/>
                </a:lnTo>
                <a:lnTo>
                  <a:pt x="0" y="715"/>
                </a:lnTo>
                <a:lnTo>
                  <a:pt x="1" y="714"/>
                </a:lnTo>
                <a:lnTo>
                  <a:pt x="2" y="713"/>
                </a:lnTo>
                <a:lnTo>
                  <a:pt x="3" y="711"/>
                </a:lnTo>
                <a:lnTo>
                  <a:pt x="4" y="708"/>
                </a:lnTo>
                <a:lnTo>
                  <a:pt x="6" y="705"/>
                </a:lnTo>
                <a:lnTo>
                  <a:pt x="9" y="701"/>
                </a:lnTo>
                <a:lnTo>
                  <a:pt x="11" y="697"/>
                </a:lnTo>
                <a:lnTo>
                  <a:pt x="14" y="692"/>
                </a:lnTo>
                <a:lnTo>
                  <a:pt x="17" y="686"/>
                </a:lnTo>
                <a:lnTo>
                  <a:pt x="21" y="680"/>
                </a:lnTo>
                <a:lnTo>
                  <a:pt x="25" y="673"/>
                </a:lnTo>
                <a:lnTo>
                  <a:pt x="29" y="665"/>
                </a:lnTo>
                <a:lnTo>
                  <a:pt x="34" y="657"/>
                </a:lnTo>
                <a:lnTo>
                  <a:pt x="39" y="649"/>
                </a:lnTo>
                <a:lnTo>
                  <a:pt x="44" y="640"/>
                </a:lnTo>
                <a:lnTo>
                  <a:pt x="50" y="630"/>
                </a:lnTo>
                <a:lnTo>
                  <a:pt x="56" y="620"/>
                </a:lnTo>
                <a:lnTo>
                  <a:pt x="62" y="610"/>
                </a:lnTo>
                <a:lnTo>
                  <a:pt x="69" y="600"/>
                </a:lnTo>
                <a:lnTo>
                  <a:pt x="76" y="590"/>
                </a:lnTo>
                <a:lnTo>
                  <a:pt x="84" y="580"/>
                </a:lnTo>
                <a:lnTo>
                  <a:pt x="91" y="569"/>
                </a:lnTo>
                <a:lnTo>
                  <a:pt x="99" y="558"/>
                </a:lnTo>
                <a:lnTo>
                  <a:pt x="108" y="547"/>
                </a:lnTo>
                <a:lnTo>
                  <a:pt x="116" y="536"/>
                </a:lnTo>
                <a:lnTo>
                  <a:pt x="126" y="525"/>
                </a:lnTo>
                <a:lnTo>
                  <a:pt x="135" y="514"/>
                </a:lnTo>
                <a:lnTo>
                  <a:pt x="145" y="502"/>
                </a:lnTo>
                <a:lnTo>
                  <a:pt x="155" y="490"/>
                </a:lnTo>
                <a:lnTo>
                  <a:pt x="165" y="478"/>
                </a:lnTo>
                <a:lnTo>
                  <a:pt x="176" y="466"/>
                </a:lnTo>
                <a:lnTo>
                  <a:pt x="187" y="454"/>
                </a:lnTo>
                <a:lnTo>
                  <a:pt x="198" y="442"/>
                </a:lnTo>
                <a:lnTo>
                  <a:pt x="210" y="431"/>
                </a:lnTo>
                <a:lnTo>
                  <a:pt x="222" y="419"/>
                </a:lnTo>
                <a:lnTo>
                  <a:pt x="233" y="408"/>
                </a:lnTo>
                <a:lnTo>
                  <a:pt x="246" y="397"/>
                </a:lnTo>
                <a:lnTo>
                  <a:pt x="258" y="386"/>
                </a:lnTo>
                <a:lnTo>
                  <a:pt x="271" y="376"/>
                </a:lnTo>
                <a:lnTo>
                  <a:pt x="283" y="365"/>
                </a:lnTo>
                <a:lnTo>
                  <a:pt x="296" y="355"/>
                </a:lnTo>
                <a:lnTo>
                  <a:pt x="310" y="345"/>
                </a:lnTo>
                <a:lnTo>
                  <a:pt x="323" y="335"/>
                </a:lnTo>
                <a:lnTo>
                  <a:pt x="337" y="326"/>
                </a:lnTo>
                <a:lnTo>
                  <a:pt x="351" y="316"/>
                </a:lnTo>
                <a:lnTo>
                  <a:pt x="365" y="307"/>
                </a:lnTo>
                <a:lnTo>
                  <a:pt x="379" y="298"/>
                </a:lnTo>
                <a:lnTo>
                  <a:pt x="394" y="289"/>
                </a:lnTo>
                <a:lnTo>
                  <a:pt x="408" y="281"/>
                </a:lnTo>
                <a:lnTo>
                  <a:pt x="423" y="273"/>
                </a:lnTo>
                <a:lnTo>
                  <a:pt x="438" y="265"/>
                </a:lnTo>
                <a:lnTo>
                  <a:pt x="452" y="257"/>
                </a:lnTo>
                <a:lnTo>
                  <a:pt x="467" y="249"/>
                </a:lnTo>
                <a:lnTo>
                  <a:pt x="482" y="242"/>
                </a:lnTo>
                <a:lnTo>
                  <a:pt x="497" y="235"/>
                </a:lnTo>
                <a:lnTo>
                  <a:pt x="512" y="229"/>
                </a:lnTo>
                <a:lnTo>
                  <a:pt x="528" y="222"/>
                </a:lnTo>
                <a:lnTo>
                  <a:pt x="543" y="216"/>
                </a:lnTo>
                <a:lnTo>
                  <a:pt x="558" y="210"/>
                </a:lnTo>
                <a:lnTo>
                  <a:pt x="574" y="205"/>
                </a:lnTo>
                <a:lnTo>
                  <a:pt x="589" y="199"/>
                </a:lnTo>
                <a:lnTo>
                  <a:pt x="605" y="194"/>
                </a:lnTo>
                <a:lnTo>
                  <a:pt x="620" y="190"/>
                </a:lnTo>
                <a:lnTo>
                  <a:pt x="636" y="185"/>
                </a:lnTo>
                <a:lnTo>
                  <a:pt x="651" y="181"/>
                </a:lnTo>
                <a:lnTo>
                  <a:pt x="666" y="177"/>
                </a:lnTo>
                <a:lnTo>
                  <a:pt x="681" y="173"/>
                </a:lnTo>
                <a:lnTo>
                  <a:pt x="695" y="169"/>
                </a:lnTo>
                <a:lnTo>
                  <a:pt x="709" y="166"/>
                </a:lnTo>
                <a:lnTo>
                  <a:pt x="723" y="163"/>
                </a:lnTo>
                <a:lnTo>
                  <a:pt x="737" y="160"/>
                </a:lnTo>
                <a:lnTo>
                  <a:pt x="750" y="158"/>
                </a:lnTo>
                <a:lnTo>
                  <a:pt x="763" y="156"/>
                </a:lnTo>
                <a:lnTo>
                  <a:pt x="775" y="154"/>
                </a:lnTo>
                <a:lnTo>
                  <a:pt x="787" y="152"/>
                </a:lnTo>
                <a:lnTo>
                  <a:pt x="799" y="151"/>
                </a:lnTo>
                <a:lnTo>
                  <a:pt x="811" y="150"/>
                </a:lnTo>
                <a:lnTo>
                  <a:pt x="822" y="149"/>
                </a:lnTo>
                <a:lnTo>
                  <a:pt x="834" y="148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021721" y="239283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3522873" y="194968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220072" y="388747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3707904" y="443711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2699792" y="3244673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1507351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6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/>
          <p:nvPr/>
        </p:nvGrpSpPr>
        <p:grpSpPr>
          <a:xfrm>
            <a:off x="1999951" y="1322288"/>
            <a:ext cx="5184775" cy="4699000"/>
            <a:chOff x="1999951" y="1382078"/>
            <a:chExt cx="5184775" cy="4699000"/>
          </a:xfrm>
        </p:grpSpPr>
        <p:sp>
          <p:nvSpPr>
            <p:cNvPr id="15" name="Freeform 2"/>
            <p:cNvSpPr>
              <a:spLocks/>
            </p:cNvSpPr>
            <p:nvPr/>
          </p:nvSpPr>
          <p:spPr bwMode="gray">
            <a:xfrm>
              <a:off x="4600276" y="4206240"/>
              <a:ext cx="2020888" cy="1874838"/>
            </a:xfrm>
            <a:custGeom>
              <a:avLst/>
              <a:gdLst>
                <a:gd name="T0" fmla="*/ 2147483647 w 1427"/>
                <a:gd name="T1" fmla="*/ 617797558 h 1364"/>
                <a:gd name="T2" fmla="*/ 2029630089 w 1427"/>
                <a:gd name="T3" fmla="*/ 589459199 h 1364"/>
                <a:gd name="T4" fmla="*/ 1612473348 w 1427"/>
                <a:gd name="T5" fmla="*/ 0 h 1364"/>
                <a:gd name="T6" fmla="*/ 497379205 w 1427"/>
                <a:gd name="T7" fmla="*/ 921973592 h 1364"/>
                <a:gd name="T8" fmla="*/ 481335314 w 1427"/>
                <a:gd name="T9" fmla="*/ 634801673 h 1364"/>
                <a:gd name="T10" fmla="*/ 0 w 1427"/>
                <a:gd name="T11" fmla="*/ 1655018837 h 1364"/>
                <a:gd name="T12" fmla="*/ 593646799 w 1427"/>
                <a:gd name="T13" fmla="*/ 2147483647 h 1364"/>
                <a:gd name="T14" fmla="*/ 585624146 w 1427"/>
                <a:gd name="T15" fmla="*/ 2147483647 h 1364"/>
                <a:gd name="T16" fmla="*/ 2147483647 w 1427"/>
                <a:gd name="T17" fmla="*/ 617797558 h 13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27"/>
                <a:gd name="T28" fmla="*/ 0 h 1364"/>
                <a:gd name="T29" fmla="*/ 1427 w 1427"/>
                <a:gd name="T30" fmla="*/ 1364 h 136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27" h="1364">
                  <a:moveTo>
                    <a:pt x="1427" y="327"/>
                  </a:moveTo>
                  <a:lnTo>
                    <a:pt x="1012" y="312"/>
                  </a:lnTo>
                  <a:lnTo>
                    <a:pt x="804" y="0"/>
                  </a:lnTo>
                  <a:cubicBezTo>
                    <a:pt x="669" y="251"/>
                    <a:pt x="518" y="399"/>
                    <a:pt x="248" y="488"/>
                  </a:cubicBezTo>
                  <a:lnTo>
                    <a:pt x="240" y="336"/>
                  </a:lnTo>
                  <a:lnTo>
                    <a:pt x="0" y="876"/>
                  </a:lnTo>
                  <a:lnTo>
                    <a:pt x="296" y="1364"/>
                  </a:lnTo>
                  <a:lnTo>
                    <a:pt x="292" y="1212"/>
                  </a:lnTo>
                  <a:cubicBezTo>
                    <a:pt x="382" y="1164"/>
                    <a:pt x="993" y="1174"/>
                    <a:pt x="1427" y="327"/>
                  </a:cubicBezTo>
                  <a:close/>
                </a:path>
              </a:pathLst>
            </a:custGeom>
            <a:solidFill>
              <a:schemeClr val="accent3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"/>
            <p:cNvSpPr>
              <a:spLocks/>
            </p:cNvSpPr>
            <p:nvPr/>
          </p:nvSpPr>
          <p:spPr bwMode="gray">
            <a:xfrm>
              <a:off x="2684164" y="4503103"/>
              <a:ext cx="2125662" cy="1504950"/>
            </a:xfrm>
            <a:custGeom>
              <a:avLst/>
              <a:gdLst>
                <a:gd name="T0" fmla="*/ 2147483647 w 1473"/>
                <a:gd name="T1" fmla="*/ 1938311022 h 1075"/>
                <a:gd name="T2" fmla="*/ 2147483647 w 1473"/>
                <a:gd name="T3" fmla="*/ 1244516437 h 1075"/>
                <a:gd name="T4" fmla="*/ 2147483647 w 1473"/>
                <a:gd name="T5" fmla="*/ 599720378 h 1075"/>
                <a:gd name="T6" fmla="*/ 1516053239 w 1473"/>
                <a:gd name="T7" fmla="*/ 152869295 h 1075"/>
                <a:gd name="T8" fmla="*/ 1805518377 w 1473"/>
                <a:gd name="T9" fmla="*/ 0 h 1075"/>
                <a:gd name="T10" fmla="*/ 593509924 w 1473"/>
                <a:gd name="T11" fmla="*/ 111712082 h 1075"/>
                <a:gd name="T12" fmla="*/ 0 w 1473"/>
                <a:gd name="T13" fmla="*/ 1083807450 h 1075"/>
                <a:gd name="T14" fmla="*/ 264476802 w 1473"/>
                <a:gd name="T15" fmla="*/ 907418990 h 1075"/>
                <a:gd name="T16" fmla="*/ 2147483647 w 1473"/>
                <a:gd name="T17" fmla="*/ 1938311022 h 10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73"/>
                <a:gd name="T28" fmla="*/ 0 h 1075"/>
                <a:gd name="T29" fmla="*/ 1473 w 1473"/>
                <a:gd name="T30" fmla="*/ 1075 h 10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73" h="1075">
                  <a:moveTo>
                    <a:pt x="1473" y="989"/>
                  </a:moveTo>
                  <a:lnTo>
                    <a:pt x="1261" y="635"/>
                  </a:lnTo>
                  <a:lnTo>
                    <a:pt x="1402" y="306"/>
                  </a:lnTo>
                  <a:cubicBezTo>
                    <a:pt x="1124" y="326"/>
                    <a:pt x="943" y="255"/>
                    <a:pt x="728" y="78"/>
                  </a:cubicBezTo>
                  <a:lnTo>
                    <a:pt x="867" y="0"/>
                  </a:lnTo>
                  <a:lnTo>
                    <a:pt x="285" y="57"/>
                  </a:lnTo>
                  <a:lnTo>
                    <a:pt x="0" y="553"/>
                  </a:lnTo>
                  <a:lnTo>
                    <a:pt x="127" y="463"/>
                  </a:lnTo>
                  <a:cubicBezTo>
                    <a:pt x="215" y="512"/>
                    <a:pt x="543" y="1075"/>
                    <a:pt x="1473" y="989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4"/>
            <p:cNvSpPr>
              <a:spLocks/>
            </p:cNvSpPr>
            <p:nvPr/>
          </p:nvSpPr>
          <p:spPr bwMode="gray">
            <a:xfrm>
              <a:off x="1999951" y="2893378"/>
              <a:ext cx="1581150" cy="2108200"/>
            </a:xfrm>
            <a:custGeom>
              <a:avLst/>
              <a:gdLst>
                <a:gd name="T0" fmla="*/ 1076079943 w 1118"/>
                <a:gd name="T1" fmla="*/ 2147483647 h 1536"/>
                <a:gd name="T2" fmla="*/ 1480110262 w 1118"/>
                <a:gd name="T3" fmla="*/ 2147483647 h 1536"/>
                <a:gd name="T4" fmla="*/ 2147483647 w 1118"/>
                <a:gd name="T5" fmla="*/ 2147483647 h 1536"/>
                <a:gd name="T6" fmla="*/ 1920143903 w 1118"/>
                <a:gd name="T7" fmla="*/ 798742992 h 1536"/>
                <a:gd name="T8" fmla="*/ 2147483647 w 1118"/>
                <a:gd name="T9" fmla="*/ 934378717 h 1536"/>
                <a:gd name="T10" fmla="*/ 1520113128 w 1118"/>
                <a:gd name="T11" fmla="*/ 22605507 h 1536"/>
                <a:gd name="T12" fmla="*/ 320024426 w 1118"/>
                <a:gd name="T13" fmla="*/ 0 h 1536"/>
                <a:gd name="T14" fmla="*/ 632046935 w 1118"/>
                <a:gd name="T15" fmla="*/ 150706099 h 1536"/>
                <a:gd name="T16" fmla="*/ 1076079943 w 1118"/>
                <a:gd name="T17" fmla="*/ 2147483647 h 1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18"/>
                <a:gd name="T28" fmla="*/ 0 h 1536"/>
                <a:gd name="T29" fmla="*/ 1118 w 1118"/>
                <a:gd name="T30" fmla="*/ 1536 h 1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18" h="1536">
                  <a:moveTo>
                    <a:pt x="538" y="1536"/>
                  </a:moveTo>
                  <a:lnTo>
                    <a:pt x="740" y="1180"/>
                  </a:lnTo>
                  <a:lnTo>
                    <a:pt x="1118" y="1140"/>
                  </a:lnTo>
                  <a:cubicBezTo>
                    <a:pt x="962" y="902"/>
                    <a:pt x="910" y="704"/>
                    <a:pt x="960" y="424"/>
                  </a:cubicBezTo>
                  <a:lnTo>
                    <a:pt x="1096" y="496"/>
                  </a:lnTo>
                  <a:lnTo>
                    <a:pt x="760" y="12"/>
                  </a:lnTo>
                  <a:lnTo>
                    <a:pt x="160" y="0"/>
                  </a:lnTo>
                  <a:lnTo>
                    <a:pt x="316" y="80"/>
                  </a:lnTo>
                  <a:cubicBezTo>
                    <a:pt x="316" y="182"/>
                    <a:pt x="0" y="751"/>
                    <a:pt x="538" y="1536"/>
                  </a:cubicBezTo>
                  <a:close/>
                </a:path>
              </a:pathLst>
            </a:custGeom>
            <a:solidFill>
              <a:schemeClr val="accent6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5"/>
            <p:cNvSpPr>
              <a:spLocks/>
            </p:cNvSpPr>
            <p:nvPr/>
          </p:nvSpPr>
          <p:spPr bwMode="gray">
            <a:xfrm>
              <a:off x="2547639" y="1382078"/>
              <a:ext cx="2001837" cy="1882775"/>
            </a:xfrm>
            <a:custGeom>
              <a:avLst/>
              <a:gdLst>
                <a:gd name="T0" fmla="*/ 0 w 1388"/>
                <a:gd name="T1" fmla="*/ 1988924293 h 1345"/>
                <a:gd name="T2" fmla="*/ 836189592 w 1388"/>
                <a:gd name="T3" fmla="*/ 2024195865 h 1345"/>
                <a:gd name="T4" fmla="*/ 1273003829 w 1388"/>
                <a:gd name="T5" fmla="*/ 2147483647 h 1345"/>
                <a:gd name="T6" fmla="*/ 2147483647 w 1388"/>
                <a:gd name="T7" fmla="*/ 1661682718 h 1345"/>
                <a:gd name="T8" fmla="*/ 2147483647 w 1388"/>
                <a:gd name="T9" fmla="*/ 1975207337 h 1345"/>
                <a:gd name="T10" fmla="*/ 2147483647 w 1388"/>
                <a:gd name="T11" fmla="*/ 946453501 h 1345"/>
                <a:gd name="T12" fmla="*/ 2147483647 w 1388"/>
                <a:gd name="T13" fmla="*/ 0 h 1345"/>
                <a:gd name="T14" fmla="*/ 2147483647 w 1388"/>
                <a:gd name="T15" fmla="*/ 246901092 h 1345"/>
                <a:gd name="T16" fmla="*/ 0 w 1388"/>
                <a:gd name="T17" fmla="*/ 1988924293 h 13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88"/>
                <a:gd name="T28" fmla="*/ 0 h 1345"/>
                <a:gd name="T29" fmla="*/ 1388 w 1388"/>
                <a:gd name="T30" fmla="*/ 1345 h 13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88" h="1345">
                  <a:moveTo>
                    <a:pt x="0" y="1015"/>
                  </a:moveTo>
                  <a:lnTo>
                    <a:pt x="402" y="1033"/>
                  </a:lnTo>
                  <a:lnTo>
                    <a:pt x="612" y="1345"/>
                  </a:lnTo>
                  <a:cubicBezTo>
                    <a:pt x="745" y="1099"/>
                    <a:pt x="880" y="935"/>
                    <a:pt x="1145" y="848"/>
                  </a:cubicBezTo>
                  <a:lnTo>
                    <a:pt x="1163" y="1008"/>
                  </a:lnTo>
                  <a:lnTo>
                    <a:pt x="1388" y="483"/>
                  </a:lnTo>
                  <a:lnTo>
                    <a:pt x="1108" y="0"/>
                  </a:lnTo>
                  <a:lnTo>
                    <a:pt x="1105" y="126"/>
                  </a:lnTo>
                  <a:cubicBezTo>
                    <a:pt x="1017" y="173"/>
                    <a:pt x="426" y="184"/>
                    <a:pt x="0" y="1015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6"/>
            <p:cNvSpPr>
              <a:spLocks/>
            </p:cNvSpPr>
            <p:nvPr/>
          </p:nvSpPr>
          <p:spPr bwMode="gray">
            <a:xfrm>
              <a:off x="4344689" y="1409065"/>
              <a:ext cx="2136775" cy="1550988"/>
            </a:xfrm>
            <a:custGeom>
              <a:avLst/>
              <a:gdLst>
                <a:gd name="T0" fmla="*/ 0 w 1508"/>
                <a:gd name="T1" fmla="*/ 166372309 h 1128"/>
                <a:gd name="T2" fmla="*/ 449741575 w 1508"/>
                <a:gd name="T3" fmla="*/ 907486055 h 1128"/>
                <a:gd name="T4" fmla="*/ 160622276 w 1508"/>
                <a:gd name="T5" fmla="*/ 1504913518 h 1128"/>
                <a:gd name="T6" fmla="*/ 1550002339 w 1508"/>
                <a:gd name="T7" fmla="*/ 1958657061 h 1128"/>
                <a:gd name="T8" fmla="*/ 1252851494 w 1508"/>
                <a:gd name="T9" fmla="*/ 2132591764 h 1128"/>
                <a:gd name="T10" fmla="*/ 2147483647 w 1508"/>
                <a:gd name="T11" fmla="*/ 2022937785 h 1128"/>
                <a:gd name="T12" fmla="*/ 2147483647 w 1508"/>
                <a:gd name="T13" fmla="*/ 1066295882 h 1128"/>
                <a:gd name="T14" fmla="*/ 2147483647 w 1508"/>
                <a:gd name="T15" fmla="*/ 1225105710 h 1128"/>
                <a:gd name="T16" fmla="*/ 0 w 1508"/>
                <a:gd name="T17" fmla="*/ 166372309 h 11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08"/>
                <a:gd name="T28" fmla="*/ 0 h 1128"/>
                <a:gd name="T29" fmla="*/ 1508 w 1508"/>
                <a:gd name="T30" fmla="*/ 1128 h 11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08" h="1128">
                  <a:moveTo>
                    <a:pt x="0" y="88"/>
                  </a:moveTo>
                  <a:lnTo>
                    <a:pt x="224" y="480"/>
                  </a:lnTo>
                  <a:lnTo>
                    <a:pt x="80" y="796"/>
                  </a:lnTo>
                  <a:cubicBezTo>
                    <a:pt x="364" y="776"/>
                    <a:pt x="552" y="856"/>
                    <a:pt x="772" y="1036"/>
                  </a:cubicBezTo>
                  <a:lnTo>
                    <a:pt x="624" y="1128"/>
                  </a:lnTo>
                  <a:lnTo>
                    <a:pt x="1217" y="1070"/>
                  </a:lnTo>
                  <a:lnTo>
                    <a:pt x="1508" y="564"/>
                  </a:lnTo>
                  <a:lnTo>
                    <a:pt x="1388" y="648"/>
                  </a:lnTo>
                  <a:cubicBezTo>
                    <a:pt x="1299" y="598"/>
                    <a:pt x="948" y="0"/>
                    <a:pt x="0" y="8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gray">
            <a:xfrm>
              <a:off x="5594051" y="2447290"/>
              <a:ext cx="1590675" cy="2120900"/>
            </a:xfrm>
            <a:custGeom>
              <a:avLst/>
              <a:gdLst>
                <a:gd name="T0" fmla="*/ 1195946376 w 1102"/>
                <a:gd name="T1" fmla="*/ 0 h 1514"/>
                <a:gd name="T2" fmla="*/ 775073011 w 1102"/>
                <a:gd name="T3" fmla="*/ 733939205 h 1514"/>
                <a:gd name="T4" fmla="*/ 0 w 1102"/>
                <a:gd name="T5" fmla="*/ 769263420 h 1514"/>
                <a:gd name="T6" fmla="*/ 304195619 w 1102"/>
                <a:gd name="T7" fmla="*/ 2147483647 h 1514"/>
                <a:gd name="T8" fmla="*/ 27086221 w 1102"/>
                <a:gd name="T9" fmla="*/ 2017352781 h 1514"/>
                <a:gd name="T10" fmla="*/ 712567414 w 1102"/>
                <a:gd name="T11" fmla="*/ 2147483647 h 1514"/>
                <a:gd name="T12" fmla="*/ 1939765957 w 1102"/>
                <a:gd name="T13" fmla="*/ 2147483647 h 1514"/>
                <a:gd name="T14" fmla="*/ 1620985879 w 1102"/>
                <a:gd name="T15" fmla="*/ 2147483647 h 1514"/>
                <a:gd name="T16" fmla="*/ 1195946376 w 1102"/>
                <a:gd name="T17" fmla="*/ 0 h 15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02"/>
                <a:gd name="T28" fmla="*/ 0 h 1514"/>
                <a:gd name="T29" fmla="*/ 1102 w 1102"/>
                <a:gd name="T30" fmla="*/ 1514 h 15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02" h="1514">
                  <a:moveTo>
                    <a:pt x="574" y="0"/>
                  </a:moveTo>
                  <a:lnTo>
                    <a:pt x="372" y="374"/>
                  </a:lnTo>
                  <a:lnTo>
                    <a:pt x="0" y="392"/>
                  </a:lnTo>
                  <a:cubicBezTo>
                    <a:pt x="153" y="626"/>
                    <a:pt x="195" y="824"/>
                    <a:pt x="146" y="1098"/>
                  </a:cubicBezTo>
                  <a:lnTo>
                    <a:pt x="13" y="1028"/>
                  </a:lnTo>
                  <a:lnTo>
                    <a:pt x="342" y="1502"/>
                  </a:lnTo>
                  <a:lnTo>
                    <a:pt x="931" y="1514"/>
                  </a:lnTo>
                  <a:lnTo>
                    <a:pt x="778" y="1436"/>
                  </a:lnTo>
                  <a:cubicBezTo>
                    <a:pt x="778" y="1336"/>
                    <a:pt x="1102" y="770"/>
                    <a:pt x="574" y="0"/>
                  </a:cubicBezTo>
                  <a:close/>
                </a:path>
              </a:pathLst>
            </a:custGeom>
            <a:solidFill>
              <a:schemeClr val="accent5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796136" y="3206379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809826" y="1766814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085257" y="470841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3325610" y="4885445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2339752" y="344795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4" hasCustomPrompt="1"/>
          </p:nvPr>
        </p:nvSpPr>
        <p:spPr>
          <a:xfrm>
            <a:off x="3055638" y="19533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8874624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7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2"/>
          <p:cNvSpPr>
            <a:spLocks/>
          </p:cNvSpPr>
          <p:nvPr/>
        </p:nvSpPr>
        <p:spPr bwMode="gray">
          <a:xfrm>
            <a:off x="4377055" y="1359817"/>
            <a:ext cx="1747838" cy="1444625"/>
          </a:xfrm>
          <a:custGeom>
            <a:avLst/>
            <a:gdLst>
              <a:gd name="T0" fmla="*/ 0 w 1212"/>
              <a:gd name="T1" fmla="*/ 105814575 h 1032"/>
              <a:gd name="T2" fmla="*/ 474167384 w 1212"/>
              <a:gd name="T3" fmla="*/ 717186157 h 1032"/>
              <a:gd name="T4" fmla="*/ 174692922 w 1212"/>
              <a:gd name="T5" fmla="*/ 1504915684 h 1032"/>
              <a:gd name="T6" fmla="*/ 1285243385 w 1212"/>
              <a:gd name="T7" fmla="*/ 1810600709 h 1032"/>
              <a:gd name="T8" fmla="*/ 1098071931 w 1212"/>
              <a:gd name="T9" fmla="*/ 2022229773 h 1032"/>
              <a:gd name="T10" fmla="*/ 2147483647 w 1212"/>
              <a:gd name="T11" fmla="*/ 1669514667 h 1032"/>
              <a:gd name="T12" fmla="*/ 2147483647 w 1212"/>
              <a:gd name="T13" fmla="*/ 611371625 h 1032"/>
              <a:gd name="T14" fmla="*/ 2147483647 w 1212"/>
              <a:gd name="T15" fmla="*/ 805364408 h 1032"/>
              <a:gd name="T16" fmla="*/ 0 w 1212"/>
              <a:gd name="T17" fmla="*/ 105814575 h 103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12"/>
              <a:gd name="T28" fmla="*/ 0 h 1032"/>
              <a:gd name="T29" fmla="*/ 1212 w 1212"/>
              <a:gd name="T30" fmla="*/ 1032 h 103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12" h="1032">
                <a:moveTo>
                  <a:pt x="0" y="54"/>
                </a:moveTo>
                <a:cubicBezTo>
                  <a:pt x="78" y="144"/>
                  <a:pt x="138" y="246"/>
                  <a:pt x="228" y="366"/>
                </a:cubicBezTo>
                <a:lnTo>
                  <a:pt x="84" y="768"/>
                </a:lnTo>
                <a:cubicBezTo>
                  <a:pt x="330" y="774"/>
                  <a:pt x="540" y="838"/>
                  <a:pt x="618" y="924"/>
                </a:cubicBezTo>
                <a:lnTo>
                  <a:pt x="528" y="1032"/>
                </a:lnTo>
                <a:lnTo>
                  <a:pt x="1063" y="852"/>
                </a:lnTo>
                <a:lnTo>
                  <a:pt x="1212" y="312"/>
                </a:lnTo>
                <a:lnTo>
                  <a:pt x="1138" y="411"/>
                </a:lnTo>
                <a:cubicBezTo>
                  <a:pt x="966" y="270"/>
                  <a:pt x="570" y="0"/>
                  <a:pt x="0" y="54"/>
                </a:cubicBezTo>
                <a:close/>
              </a:path>
            </a:pathLst>
          </a:custGeom>
          <a:solidFill>
            <a:schemeClr val="accent1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8029" tIns="44015" rIns="88029" bIns="44015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Freeform 3"/>
          <p:cNvSpPr>
            <a:spLocks/>
          </p:cNvSpPr>
          <p:nvPr/>
        </p:nvSpPr>
        <p:spPr bwMode="gray">
          <a:xfrm>
            <a:off x="5459730" y="2032917"/>
            <a:ext cx="1576388" cy="1970088"/>
          </a:xfrm>
          <a:custGeom>
            <a:avLst/>
            <a:gdLst>
              <a:gd name="T0" fmla="*/ 1023413204 w 1093"/>
              <a:gd name="T1" fmla="*/ 0 h 1407"/>
              <a:gd name="T2" fmla="*/ 748838952 w 1093"/>
              <a:gd name="T3" fmla="*/ 870494702 h 1407"/>
              <a:gd name="T4" fmla="*/ 0 w 1093"/>
              <a:gd name="T5" fmla="*/ 1070473267 h 1407"/>
              <a:gd name="T6" fmla="*/ 474264880 w 1093"/>
              <a:gd name="T7" fmla="*/ 2140946534 h 1407"/>
              <a:gd name="T8" fmla="*/ 218411218 w 1093"/>
              <a:gd name="T9" fmla="*/ 2147483647 h 1407"/>
              <a:gd name="T10" fmla="*/ 1198142683 w 1093"/>
              <a:gd name="T11" fmla="*/ 2147483647 h 1407"/>
              <a:gd name="T12" fmla="*/ 2147483647 w 1093"/>
              <a:gd name="T13" fmla="*/ 2147483647 h 1407"/>
              <a:gd name="T14" fmla="*/ 2017704347 w 1093"/>
              <a:gd name="T15" fmla="*/ 2147483647 h 1407"/>
              <a:gd name="T16" fmla="*/ 1023413204 w 1093"/>
              <a:gd name="T17" fmla="*/ 0 h 140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93"/>
              <a:gd name="T28" fmla="*/ 0 h 1407"/>
              <a:gd name="T29" fmla="*/ 1093 w 1093"/>
              <a:gd name="T30" fmla="*/ 1407 h 140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93" h="1407">
                <a:moveTo>
                  <a:pt x="492" y="0"/>
                </a:moveTo>
                <a:cubicBezTo>
                  <a:pt x="469" y="116"/>
                  <a:pt x="399" y="299"/>
                  <a:pt x="360" y="444"/>
                </a:cubicBezTo>
                <a:lnTo>
                  <a:pt x="0" y="546"/>
                </a:lnTo>
                <a:cubicBezTo>
                  <a:pt x="180" y="714"/>
                  <a:pt x="207" y="954"/>
                  <a:pt x="228" y="1092"/>
                </a:cubicBezTo>
                <a:lnTo>
                  <a:pt x="105" y="1096"/>
                </a:lnTo>
                <a:lnTo>
                  <a:pt x="576" y="1407"/>
                </a:lnTo>
                <a:lnTo>
                  <a:pt x="1093" y="1193"/>
                </a:lnTo>
                <a:lnTo>
                  <a:pt x="970" y="1196"/>
                </a:lnTo>
                <a:cubicBezTo>
                  <a:pt x="975" y="973"/>
                  <a:pt x="885" y="416"/>
                  <a:pt x="492" y="0"/>
                </a:cubicBezTo>
                <a:close/>
              </a:path>
            </a:pathLst>
          </a:custGeom>
          <a:solidFill>
            <a:schemeClr val="accent5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Freeform 4"/>
          <p:cNvSpPr>
            <a:spLocks/>
          </p:cNvSpPr>
          <p:nvPr/>
        </p:nvSpPr>
        <p:spPr bwMode="gray">
          <a:xfrm>
            <a:off x="5266055" y="3822030"/>
            <a:ext cx="1560513" cy="1703387"/>
          </a:xfrm>
          <a:custGeom>
            <a:avLst/>
            <a:gdLst>
              <a:gd name="T0" fmla="*/ 2147483647 w 1082"/>
              <a:gd name="T1" fmla="*/ 94189182 h 1216"/>
              <a:gd name="T2" fmla="*/ 1451895520 w 1082"/>
              <a:gd name="T3" fmla="*/ 423850598 h 1216"/>
              <a:gd name="T4" fmla="*/ 752989188 w 1082"/>
              <a:gd name="T5" fmla="*/ 0 h 1216"/>
              <a:gd name="T6" fmla="*/ 166406615 w 1082"/>
              <a:gd name="T7" fmla="*/ 1000759422 h 1216"/>
              <a:gd name="T8" fmla="*/ 0 w 1082"/>
              <a:gd name="T9" fmla="*/ 794721119 h 1216"/>
              <a:gd name="T10" fmla="*/ 149765958 w 1082"/>
              <a:gd name="T11" fmla="*/ 1891630816 h 1216"/>
              <a:gd name="T12" fmla="*/ 1189805893 w 1082"/>
              <a:gd name="T13" fmla="*/ 2147483647 h 1216"/>
              <a:gd name="T14" fmla="*/ 1019239880 w 1082"/>
              <a:gd name="T15" fmla="*/ 2147483647 h 1216"/>
              <a:gd name="T16" fmla="*/ 2147483647 w 1082"/>
              <a:gd name="T17" fmla="*/ 94189182 h 12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82"/>
              <a:gd name="T28" fmla="*/ 0 h 1216"/>
              <a:gd name="T29" fmla="*/ 1082 w 1082"/>
              <a:gd name="T30" fmla="*/ 1216 h 121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82" h="1216">
                <a:moveTo>
                  <a:pt x="1082" y="48"/>
                </a:moveTo>
                <a:cubicBezTo>
                  <a:pt x="978" y="107"/>
                  <a:pt x="833" y="151"/>
                  <a:pt x="698" y="216"/>
                </a:cubicBezTo>
                <a:lnTo>
                  <a:pt x="362" y="0"/>
                </a:lnTo>
                <a:cubicBezTo>
                  <a:pt x="314" y="270"/>
                  <a:pt x="185" y="396"/>
                  <a:pt x="80" y="510"/>
                </a:cubicBezTo>
                <a:lnTo>
                  <a:pt x="0" y="405"/>
                </a:lnTo>
                <a:lnTo>
                  <a:pt x="72" y="964"/>
                </a:lnTo>
                <a:lnTo>
                  <a:pt x="572" y="1216"/>
                </a:lnTo>
                <a:lnTo>
                  <a:pt x="490" y="1124"/>
                </a:lnTo>
                <a:cubicBezTo>
                  <a:pt x="662" y="983"/>
                  <a:pt x="1024" y="618"/>
                  <a:pt x="1082" y="48"/>
                </a:cubicBezTo>
                <a:close/>
              </a:path>
            </a:pathLst>
          </a:custGeom>
          <a:solidFill>
            <a:schemeClr val="accent3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5"/>
          <p:cNvSpPr>
            <a:spLocks/>
          </p:cNvSpPr>
          <p:nvPr/>
        </p:nvSpPr>
        <p:spPr bwMode="gray">
          <a:xfrm>
            <a:off x="3827780" y="4631655"/>
            <a:ext cx="1943100" cy="1317625"/>
          </a:xfrm>
          <a:custGeom>
            <a:avLst/>
            <a:gdLst>
              <a:gd name="T0" fmla="*/ 2147483647 w 1346"/>
              <a:gd name="T1" fmla="*/ 1243065096 h 941"/>
              <a:gd name="T2" fmla="*/ 2092347655 w 1346"/>
              <a:gd name="T3" fmla="*/ 925436339 h 941"/>
              <a:gd name="T4" fmla="*/ 1979811024 w 1346"/>
              <a:gd name="T5" fmla="*/ 43134365 h 941"/>
              <a:gd name="T6" fmla="*/ 779419930 w 1346"/>
              <a:gd name="T7" fmla="*/ 254886946 h 941"/>
              <a:gd name="T8" fmla="*/ 856528924 w 1346"/>
              <a:gd name="T9" fmla="*/ 0 h 941"/>
              <a:gd name="T10" fmla="*/ 0 w 1346"/>
              <a:gd name="T11" fmla="*/ 760740258 h 941"/>
              <a:gd name="T12" fmla="*/ 189645715 w 1346"/>
              <a:gd name="T13" fmla="*/ 1844990275 h 941"/>
              <a:gd name="T14" fmla="*/ 241745606 w 1346"/>
              <a:gd name="T15" fmla="*/ 1631277437 h 941"/>
              <a:gd name="T16" fmla="*/ 2147483647 w 1346"/>
              <a:gd name="T17" fmla="*/ 1243065096 h 94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46"/>
              <a:gd name="T28" fmla="*/ 0 h 941"/>
              <a:gd name="T29" fmla="*/ 1346 w 1346"/>
              <a:gd name="T30" fmla="*/ 941 h 94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46" h="941">
                <a:moveTo>
                  <a:pt x="1346" y="634"/>
                </a:moveTo>
                <a:cubicBezTo>
                  <a:pt x="1237" y="585"/>
                  <a:pt x="1136" y="543"/>
                  <a:pt x="1004" y="472"/>
                </a:cubicBezTo>
                <a:lnTo>
                  <a:pt x="950" y="22"/>
                </a:lnTo>
                <a:cubicBezTo>
                  <a:pt x="722" y="160"/>
                  <a:pt x="488" y="166"/>
                  <a:pt x="374" y="130"/>
                </a:cubicBezTo>
                <a:lnTo>
                  <a:pt x="411" y="0"/>
                </a:lnTo>
                <a:lnTo>
                  <a:pt x="0" y="388"/>
                </a:lnTo>
                <a:lnTo>
                  <a:pt x="91" y="941"/>
                </a:lnTo>
                <a:lnTo>
                  <a:pt x="116" y="832"/>
                </a:lnTo>
                <a:cubicBezTo>
                  <a:pt x="350" y="910"/>
                  <a:pt x="851" y="922"/>
                  <a:pt x="1346" y="634"/>
                </a:cubicBezTo>
                <a:close/>
              </a:path>
            </a:pathLst>
          </a:custGeom>
          <a:solidFill>
            <a:schemeClr val="accent4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6"/>
          <p:cNvSpPr>
            <a:spLocks/>
          </p:cNvSpPr>
          <p:nvPr/>
        </p:nvSpPr>
        <p:spPr bwMode="gray">
          <a:xfrm>
            <a:off x="2345055" y="4028405"/>
            <a:ext cx="1771650" cy="1676400"/>
          </a:xfrm>
          <a:custGeom>
            <a:avLst/>
            <a:gdLst>
              <a:gd name="T0" fmla="*/ 2120251976 w 1227"/>
              <a:gd name="T1" fmla="*/ 2147483647 h 1197"/>
              <a:gd name="T2" fmla="*/ 1957637096 w 1227"/>
              <a:gd name="T3" fmla="*/ 1547546951 h 1197"/>
              <a:gd name="T4" fmla="*/ 2147483647 w 1227"/>
              <a:gd name="T5" fmla="*/ 1006199868 h 1197"/>
              <a:gd name="T6" fmla="*/ 1644915727 w 1227"/>
              <a:gd name="T7" fmla="*/ 268712753 h 1197"/>
              <a:gd name="T8" fmla="*/ 1945128703 w 1227"/>
              <a:gd name="T9" fmla="*/ 151028637 h 1197"/>
              <a:gd name="T10" fmla="*/ 779719532 w 1227"/>
              <a:gd name="T11" fmla="*/ 0 h 1197"/>
              <a:gd name="T12" fmla="*/ 0 w 1227"/>
              <a:gd name="T13" fmla="*/ 817905353 h 1197"/>
              <a:gd name="T14" fmla="*/ 231413297 w 1227"/>
              <a:gd name="T15" fmla="*/ 710027411 h 1197"/>
              <a:gd name="T16" fmla="*/ 2120251976 w 1227"/>
              <a:gd name="T17" fmla="*/ 2147483647 h 119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27"/>
              <a:gd name="T28" fmla="*/ 0 h 1197"/>
              <a:gd name="T29" fmla="*/ 1227 w 1227"/>
              <a:gd name="T30" fmla="*/ 1197 h 119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27" h="1197">
                <a:moveTo>
                  <a:pt x="1017" y="1197"/>
                </a:moveTo>
                <a:cubicBezTo>
                  <a:pt x="988" y="1082"/>
                  <a:pt x="966" y="937"/>
                  <a:pt x="939" y="789"/>
                </a:cubicBezTo>
                <a:lnTo>
                  <a:pt x="1227" y="513"/>
                </a:lnTo>
                <a:cubicBezTo>
                  <a:pt x="987" y="417"/>
                  <a:pt x="867" y="231"/>
                  <a:pt x="789" y="137"/>
                </a:cubicBezTo>
                <a:lnTo>
                  <a:pt x="933" y="77"/>
                </a:lnTo>
                <a:lnTo>
                  <a:pt x="374" y="0"/>
                </a:lnTo>
                <a:lnTo>
                  <a:pt x="0" y="417"/>
                </a:lnTo>
                <a:lnTo>
                  <a:pt x="111" y="362"/>
                </a:lnTo>
                <a:cubicBezTo>
                  <a:pt x="202" y="565"/>
                  <a:pt x="483" y="992"/>
                  <a:pt x="1017" y="1197"/>
                </a:cubicBezTo>
                <a:close/>
              </a:path>
            </a:pathLst>
          </a:custGeom>
          <a:solidFill>
            <a:schemeClr val="accent6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9" name="Freeform 7"/>
          <p:cNvSpPr>
            <a:spLocks/>
          </p:cNvSpPr>
          <p:nvPr/>
        </p:nvSpPr>
        <p:spPr bwMode="gray">
          <a:xfrm>
            <a:off x="2167255" y="2485355"/>
            <a:ext cx="1487488" cy="1874837"/>
          </a:xfrm>
          <a:custGeom>
            <a:avLst/>
            <a:gdLst>
              <a:gd name="T0" fmla="*/ 400436093 w 1030"/>
              <a:gd name="T1" fmla="*/ 2147483647 h 1338"/>
              <a:gd name="T2" fmla="*/ 1038631866 w 1030"/>
              <a:gd name="T3" fmla="*/ 1979134245 h 1338"/>
              <a:gd name="T4" fmla="*/ 1814478161 w 1030"/>
              <a:gd name="T5" fmla="*/ 2085159181 h 1338"/>
              <a:gd name="T6" fmla="*/ 1902072388 w 1030"/>
              <a:gd name="T7" fmla="*/ 895322968 h 1338"/>
              <a:gd name="T8" fmla="*/ 2147483647 w 1030"/>
              <a:gd name="T9" fmla="*/ 1050434146 h 1338"/>
              <a:gd name="T10" fmla="*/ 1566290184 w 1030"/>
              <a:gd name="T11" fmla="*/ 86391022 h 1338"/>
              <a:gd name="T12" fmla="*/ 402521463 w 1030"/>
              <a:gd name="T13" fmla="*/ 0 h 1338"/>
              <a:gd name="T14" fmla="*/ 634025032 w 1030"/>
              <a:gd name="T15" fmla="*/ 106024980 h 1338"/>
              <a:gd name="T16" fmla="*/ 400436093 w 1030"/>
              <a:gd name="T17" fmla="*/ 2147483647 h 133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30"/>
              <a:gd name="T28" fmla="*/ 0 h 1338"/>
              <a:gd name="T29" fmla="*/ 1030 w 1030"/>
              <a:gd name="T30" fmla="*/ 1338 h 133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30" h="1338">
                <a:moveTo>
                  <a:pt x="192" y="1338"/>
                </a:moveTo>
                <a:cubicBezTo>
                  <a:pt x="266" y="1244"/>
                  <a:pt x="397" y="1119"/>
                  <a:pt x="498" y="1008"/>
                </a:cubicBezTo>
                <a:lnTo>
                  <a:pt x="870" y="1062"/>
                </a:lnTo>
                <a:cubicBezTo>
                  <a:pt x="786" y="810"/>
                  <a:pt x="842" y="549"/>
                  <a:pt x="912" y="456"/>
                </a:cubicBezTo>
                <a:lnTo>
                  <a:pt x="1030" y="535"/>
                </a:lnTo>
                <a:lnTo>
                  <a:pt x="751" y="44"/>
                </a:lnTo>
                <a:lnTo>
                  <a:pt x="193" y="0"/>
                </a:lnTo>
                <a:lnTo>
                  <a:pt x="304" y="54"/>
                </a:lnTo>
                <a:cubicBezTo>
                  <a:pt x="144" y="240"/>
                  <a:pt x="0" y="798"/>
                  <a:pt x="192" y="1338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" name="Freeform 8"/>
          <p:cNvSpPr>
            <a:spLocks/>
          </p:cNvSpPr>
          <p:nvPr/>
        </p:nvSpPr>
        <p:spPr bwMode="gray">
          <a:xfrm>
            <a:off x="2705418" y="1296317"/>
            <a:ext cx="1897062" cy="1627188"/>
          </a:xfrm>
          <a:custGeom>
            <a:avLst/>
            <a:gdLst>
              <a:gd name="T0" fmla="*/ 0 w 1315"/>
              <a:gd name="T1" fmla="*/ 1526272971 h 1161"/>
              <a:gd name="T2" fmla="*/ 874099845 w 1315"/>
              <a:gd name="T3" fmla="*/ 1608773189 h 1161"/>
              <a:gd name="T4" fmla="*/ 1298662163 w 1315"/>
              <a:gd name="T5" fmla="*/ 2147483647 h 1161"/>
              <a:gd name="T6" fmla="*/ 2147483647 w 1315"/>
              <a:gd name="T7" fmla="*/ 1644131227 h 1161"/>
              <a:gd name="T8" fmla="*/ 2147483647 w 1315"/>
              <a:gd name="T9" fmla="*/ 1932884796 h 1161"/>
              <a:gd name="T10" fmla="*/ 2147483647 w 1315"/>
              <a:gd name="T11" fmla="*/ 891798509 h 1161"/>
              <a:gd name="T12" fmla="*/ 2052052646 w 1315"/>
              <a:gd name="T13" fmla="*/ 0 h 1161"/>
              <a:gd name="T14" fmla="*/ 2118650317 w 1315"/>
              <a:gd name="T15" fmla="*/ 235718002 h 1161"/>
              <a:gd name="T16" fmla="*/ 0 w 1315"/>
              <a:gd name="T17" fmla="*/ 1526272971 h 11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15"/>
              <a:gd name="T28" fmla="*/ 0 h 1161"/>
              <a:gd name="T29" fmla="*/ 1315 w 1315"/>
              <a:gd name="T30" fmla="*/ 1161 h 11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15" h="1161">
                <a:moveTo>
                  <a:pt x="0" y="777"/>
                </a:moveTo>
                <a:cubicBezTo>
                  <a:pt x="108" y="783"/>
                  <a:pt x="270" y="814"/>
                  <a:pt x="420" y="819"/>
                </a:cubicBezTo>
                <a:lnTo>
                  <a:pt x="624" y="1161"/>
                </a:lnTo>
                <a:cubicBezTo>
                  <a:pt x="750" y="969"/>
                  <a:pt x="996" y="861"/>
                  <a:pt x="1104" y="837"/>
                </a:cubicBezTo>
                <a:lnTo>
                  <a:pt x="1122" y="984"/>
                </a:lnTo>
                <a:lnTo>
                  <a:pt x="1315" y="454"/>
                </a:lnTo>
                <a:lnTo>
                  <a:pt x="986" y="0"/>
                </a:lnTo>
                <a:lnTo>
                  <a:pt x="1018" y="120"/>
                </a:lnTo>
                <a:cubicBezTo>
                  <a:pt x="800" y="166"/>
                  <a:pt x="314" y="298"/>
                  <a:pt x="0" y="77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722461" y="2923505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740592" y="1722574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520848" y="4330903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4077017" y="505902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2696665" y="4417414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4" hasCustomPrompt="1"/>
          </p:nvPr>
        </p:nvSpPr>
        <p:spPr>
          <a:xfrm>
            <a:off x="2345055" y="3017961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5" hasCustomPrompt="1"/>
          </p:nvPr>
        </p:nvSpPr>
        <p:spPr>
          <a:xfrm>
            <a:off x="3230880" y="177178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2963040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8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"/>
          <p:cNvSpPr>
            <a:spLocks/>
          </p:cNvSpPr>
          <p:nvPr/>
        </p:nvSpPr>
        <p:spPr bwMode="gray">
          <a:xfrm>
            <a:off x="4398899" y="1396697"/>
            <a:ext cx="1624181" cy="1377354"/>
          </a:xfrm>
          <a:custGeom>
            <a:avLst/>
            <a:gdLst>
              <a:gd name="T0" fmla="*/ 0 w 1140"/>
              <a:gd name="T1" fmla="*/ 112109280 h 996"/>
              <a:gd name="T2" fmla="*/ 502420089 w 1140"/>
              <a:gd name="T3" fmla="*/ 896869920 h 996"/>
              <a:gd name="T4" fmla="*/ 118993648 w 1140"/>
              <a:gd name="T5" fmla="*/ 1606891594 h 996"/>
              <a:gd name="T6" fmla="*/ 1203164332 w 1140"/>
              <a:gd name="T7" fmla="*/ 1843566326 h 996"/>
              <a:gd name="T8" fmla="*/ 1004840178 w 1140"/>
              <a:gd name="T9" fmla="*/ 2067783356 h 996"/>
              <a:gd name="T10" fmla="*/ 2147483647 w 1140"/>
              <a:gd name="T11" fmla="*/ 1694088307 h 996"/>
              <a:gd name="T12" fmla="*/ 2147483647 w 1140"/>
              <a:gd name="T13" fmla="*/ 572999736 h 996"/>
              <a:gd name="T14" fmla="*/ 2147483647 w 1140"/>
              <a:gd name="T15" fmla="*/ 778533274 h 996"/>
              <a:gd name="T16" fmla="*/ 0 w 1140"/>
              <a:gd name="T17" fmla="*/ 112109280 h 99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40"/>
              <a:gd name="T28" fmla="*/ 0 h 996"/>
              <a:gd name="T29" fmla="*/ 1140 w 1140"/>
              <a:gd name="T30" fmla="*/ 996 h 99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40" h="996">
                <a:moveTo>
                  <a:pt x="0" y="54"/>
                </a:moveTo>
                <a:cubicBezTo>
                  <a:pt x="66" y="144"/>
                  <a:pt x="162" y="288"/>
                  <a:pt x="228" y="432"/>
                </a:cubicBezTo>
                <a:lnTo>
                  <a:pt x="54" y="774"/>
                </a:lnTo>
                <a:cubicBezTo>
                  <a:pt x="300" y="780"/>
                  <a:pt x="480" y="834"/>
                  <a:pt x="546" y="888"/>
                </a:cubicBezTo>
                <a:lnTo>
                  <a:pt x="456" y="996"/>
                </a:lnTo>
                <a:lnTo>
                  <a:pt x="991" y="816"/>
                </a:lnTo>
                <a:lnTo>
                  <a:pt x="1140" y="276"/>
                </a:lnTo>
                <a:lnTo>
                  <a:pt x="1066" y="375"/>
                </a:lnTo>
                <a:cubicBezTo>
                  <a:pt x="894" y="234"/>
                  <a:pt x="570" y="0"/>
                  <a:pt x="0" y="54"/>
                </a:cubicBezTo>
                <a:close/>
              </a:path>
            </a:pathLst>
          </a:custGeom>
          <a:solidFill>
            <a:schemeClr val="accent1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Freeform 3"/>
          <p:cNvSpPr>
            <a:spLocks/>
          </p:cNvSpPr>
          <p:nvPr/>
        </p:nvSpPr>
        <p:spPr bwMode="gray">
          <a:xfrm>
            <a:off x="5372493" y="1986340"/>
            <a:ext cx="1584567" cy="1683602"/>
          </a:xfrm>
          <a:custGeom>
            <a:avLst/>
            <a:gdLst>
              <a:gd name="T0" fmla="*/ 1031644788 w 1112"/>
              <a:gd name="T1" fmla="*/ 0 h 1217"/>
              <a:gd name="T2" fmla="*/ 793572771 w 1112"/>
              <a:gd name="T3" fmla="*/ 897541238 h 1217"/>
              <a:gd name="T4" fmla="*/ 0 w 1112"/>
              <a:gd name="T5" fmla="*/ 1159324354 h 1217"/>
              <a:gd name="T6" fmla="*/ 573135973 w 1112"/>
              <a:gd name="T7" fmla="*/ 2007001730 h 1217"/>
              <a:gd name="T8" fmla="*/ 268933325 w 1112"/>
              <a:gd name="T9" fmla="*/ 2044398906 h 1217"/>
              <a:gd name="T10" fmla="*/ 1401979366 w 1112"/>
              <a:gd name="T11" fmla="*/ 2147483647 h 1217"/>
              <a:gd name="T12" fmla="*/ 2147483647 w 1112"/>
              <a:gd name="T13" fmla="*/ 1915585129 h 1217"/>
              <a:gd name="T14" fmla="*/ 2147483647 w 1112"/>
              <a:gd name="T15" fmla="*/ 1961293429 h 1217"/>
              <a:gd name="T16" fmla="*/ 1031644788 w 1112"/>
              <a:gd name="T17" fmla="*/ 0 h 121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12"/>
              <a:gd name="T28" fmla="*/ 0 h 1217"/>
              <a:gd name="T29" fmla="*/ 1112 w 1112"/>
              <a:gd name="T30" fmla="*/ 1217 h 121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12" h="1217">
                <a:moveTo>
                  <a:pt x="468" y="0"/>
                </a:moveTo>
                <a:cubicBezTo>
                  <a:pt x="444" y="102"/>
                  <a:pt x="409" y="280"/>
                  <a:pt x="360" y="432"/>
                </a:cubicBezTo>
                <a:lnTo>
                  <a:pt x="0" y="558"/>
                </a:lnTo>
                <a:cubicBezTo>
                  <a:pt x="188" y="713"/>
                  <a:pt x="249" y="882"/>
                  <a:pt x="260" y="966"/>
                </a:cubicBezTo>
                <a:lnTo>
                  <a:pt x="122" y="984"/>
                </a:lnTo>
                <a:lnTo>
                  <a:pt x="636" y="1217"/>
                </a:lnTo>
                <a:lnTo>
                  <a:pt x="1112" y="922"/>
                </a:lnTo>
                <a:lnTo>
                  <a:pt x="990" y="944"/>
                </a:lnTo>
                <a:cubicBezTo>
                  <a:pt x="960" y="724"/>
                  <a:pt x="893" y="355"/>
                  <a:pt x="468" y="0"/>
                </a:cubicBezTo>
                <a:close/>
              </a:path>
            </a:pathLst>
          </a:custGeom>
          <a:solidFill>
            <a:schemeClr val="accent5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Freeform 4"/>
          <p:cNvSpPr>
            <a:spLocks/>
          </p:cNvSpPr>
          <p:nvPr/>
        </p:nvSpPr>
        <p:spPr bwMode="gray">
          <a:xfrm>
            <a:off x="5477623" y="3439875"/>
            <a:ext cx="1424586" cy="1560189"/>
          </a:xfrm>
          <a:custGeom>
            <a:avLst/>
            <a:gdLst>
              <a:gd name="T0" fmla="*/ 2099632285 w 1000"/>
              <a:gd name="T1" fmla="*/ 0 h 1129"/>
              <a:gd name="T2" fmla="*/ 1253611388 w 1000"/>
              <a:gd name="T3" fmla="*/ 510004962 h 1129"/>
              <a:gd name="T4" fmla="*/ 473684106 w 1000"/>
              <a:gd name="T5" fmla="*/ 161709019 h 1129"/>
              <a:gd name="T6" fmla="*/ 244553794 w 1000"/>
              <a:gd name="T7" fmla="*/ 1148547457 h 1129"/>
              <a:gd name="T8" fmla="*/ 0 w 1000"/>
              <a:gd name="T9" fmla="*/ 970254203 h 1129"/>
              <a:gd name="T10" fmla="*/ 431823549 w 1000"/>
              <a:gd name="T11" fmla="*/ 2069044499 h 1129"/>
              <a:gd name="T12" fmla="*/ 1632558005 w 1000"/>
              <a:gd name="T13" fmla="*/ 2147483647 h 1129"/>
              <a:gd name="T14" fmla="*/ 1451897611 w 1000"/>
              <a:gd name="T15" fmla="*/ 2147483647 h 1129"/>
              <a:gd name="T16" fmla="*/ 2099632285 w 1000"/>
              <a:gd name="T17" fmla="*/ 0 h 112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00"/>
              <a:gd name="T28" fmla="*/ 0 h 1129"/>
              <a:gd name="T29" fmla="*/ 1000 w 1000"/>
              <a:gd name="T30" fmla="*/ 1129 h 112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00" h="1129">
                <a:moveTo>
                  <a:pt x="953" y="0"/>
                </a:moveTo>
                <a:cubicBezTo>
                  <a:pt x="863" y="54"/>
                  <a:pt x="707" y="168"/>
                  <a:pt x="569" y="246"/>
                </a:cubicBezTo>
                <a:lnTo>
                  <a:pt x="215" y="78"/>
                </a:lnTo>
                <a:cubicBezTo>
                  <a:pt x="237" y="320"/>
                  <a:pt x="162" y="487"/>
                  <a:pt x="111" y="554"/>
                </a:cubicBezTo>
                <a:lnTo>
                  <a:pt x="0" y="468"/>
                </a:lnTo>
                <a:lnTo>
                  <a:pt x="196" y="998"/>
                </a:lnTo>
                <a:lnTo>
                  <a:pt x="741" y="1129"/>
                </a:lnTo>
                <a:lnTo>
                  <a:pt x="659" y="1062"/>
                </a:lnTo>
                <a:cubicBezTo>
                  <a:pt x="773" y="888"/>
                  <a:pt x="1000" y="552"/>
                  <a:pt x="953" y="0"/>
                </a:cubicBezTo>
                <a:close/>
              </a:path>
            </a:pathLst>
          </a:custGeom>
          <a:solidFill>
            <a:schemeClr val="accent3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Freeform 5"/>
          <p:cNvSpPr>
            <a:spLocks/>
          </p:cNvSpPr>
          <p:nvPr/>
        </p:nvSpPr>
        <p:spPr bwMode="gray">
          <a:xfrm>
            <a:off x="4568020" y="4408899"/>
            <a:ext cx="1738453" cy="1540381"/>
          </a:xfrm>
          <a:custGeom>
            <a:avLst/>
            <a:gdLst>
              <a:gd name="T0" fmla="*/ 2147483647 w 1219"/>
              <a:gd name="T1" fmla="*/ 999910011 h 1112"/>
              <a:gd name="T2" fmla="*/ 1737666072 w 1219"/>
              <a:gd name="T3" fmla="*/ 749932779 h 1112"/>
              <a:gd name="T4" fmla="*/ 1432967269 w 1219"/>
              <a:gd name="T5" fmla="*/ 0 h 1112"/>
              <a:gd name="T6" fmla="*/ 547573833 w 1219"/>
              <a:gd name="T7" fmla="*/ 541618328 h 1112"/>
              <a:gd name="T8" fmla="*/ 505623321 w 1219"/>
              <a:gd name="T9" fmla="*/ 252061282 h 1112"/>
              <a:gd name="T10" fmla="*/ 0 w 1219"/>
              <a:gd name="T11" fmla="*/ 1326964174 h 1112"/>
              <a:gd name="T12" fmla="*/ 657973280 w 1219"/>
              <a:gd name="T13" fmla="*/ 2147483647 h 1112"/>
              <a:gd name="T14" fmla="*/ 651349046 w 1219"/>
              <a:gd name="T15" fmla="*/ 2087312062 h 1112"/>
              <a:gd name="T16" fmla="*/ 2147483647 w 1219"/>
              <a:gd name="T17" fmla="*/ 999910011 h 11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19"/>
              <a:gd name="T28" fmla="*/ 0 h 1112"/>
              <a:gd name="T29" fmla="*/ 1219 w 1219"/>
              <a:gd name="T30" fmla="*/ 1112 h 11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19" h="1112">
                <a:moveTo>
                  <a:pt x="1219" y="480"/>
                </a:moveTo>
                <a:cubicBezTo>
                  <a:pt x="1116" y="457"/>
                  <a:pt x="931" y="396"/>
                  <a:pt x="787" y="360"/>
                </a:cubicBezTo>
                <a:lnTo>
                  <a:pt x="649" y="0"/>
                </a:lnTo>
                <a:cubicBezTo>
                  <a:pt x="495" y="189"/>
                  <a:pt x="332" y="248"/>
                  <a:pt x="248" y="260"/>
                </a:cubicBezTo>
                <a:lnTo>
                  <a:pt x="229" y="121"/>
                </a:lnTo>
                <a:lnTo>
                  <a:pt x="0" y="637"/>
                </a:lnTo>
                <a:lnTo>
                  <a:pt x="298" y="1112"/>
                </a:lnTo>
                <a:lnTo>
                  <a:pt x="295" y="1002"/>
                </a:lnTo>
                <a:cubicBezTo>
                  <a:pt x="515" y="972"/>
                  <a:pt x="865" y="894"/>
                  <a:pt x="1219" y="480"/>
                </a:cubicBezTo>
                <a:close/>
              </a:path>
            </a:pathLst>
          </a:custGeom>
          <a:solidFill>
            <a:schemeClr val="accent4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Freeform 6"/>
          <p:cNvSpPr>
            <a:spLocks/>
          </p:cNvSpPr>
          <p:nvPr/>
        </p:nvSpPr>
        <p:spPr bwMode="gray">
          <a:xfrm>
            <a:off x="3208949" y="4526217"/>
            <a:ext cx="1573902" cy="1374307"/>
          </a:xfrm>
          <a:custGeom>
            <a:avLst/>
            <a:gdLst>
              <a:gd name="T0" fmla="*/ 2147483647 w 1104"/>
              <a:gd name="T1" fmla="*/ 1940591055 h 995"/>
              <a:gd name="T2" fmla="*/ 1941658469 w 1104"/>
              <a:gd name="T3" fmla="*/ 1174296580 h 995"/>
              <a:gd name="T4" fmla="*/ 2147483647 w 1104"/>
              <a:gd name="T5" fmla="*/ 414213527 h 995"/>
              <a:gd name="T6" fmla="*/ 1206917300 w 1104"/>
              <a:gd name="T7" fmla="*/ 231960370 h 995"/>
              <a:gd name="T8" fmla="*/ 1392257241 w 1104"/>
              <a:gd name="T9" fmla="*/ 0 h 995"/>
              <a:gd name="T10" fmla="*/ 231675762 w 1104"/>
              <a:gd name="T11" fmla="*/ 428711224 h 995"/>
              <a:gd name="T12" fmla="*/ 0 w 1104"/>
              <a:gd name="T13" fmla="*/ 1580225271 h 995"/>
              <a:gd name="T14" fmla="*/ 158862641 w 1104"/>
              <a:gd name="T15" fmla="*/ 1381403253 h 995"/>
              <a:gd name="T16" fmla="*/ 2147483647 w 1104"/>
              <a:gd name="T17" fmla="*/ 1940591055 h 99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04"/>
              <a:gd name="T28" fmla="*/ 0 h 995"/>
              <a:gd name="T29" fmla="*/ 1104 w 1104"/>
              <a:gd name="T30" fmla="*/ 995 h 99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04" h="995">
                <a:moveTo>
                  <a:pt x="1104" y="937"/>
                </a:moveTo>
                <a:cubicBezTo>
                  <a:pt x="1048" y="848"/>
                  <a:pt x="954" y="708"/>
                  <a:pt x="880" y="567"/>
                </a:cubicBezTo>
                <a:lnTo>
                  <a:pt x="1044" y="200"/>
                </a:lnTo>
                <a:cubicBezTo>
                  <a:pt x="802" y="227"/>
                  <a:pt x="615" y="162"/>
                  <a:pt x="547" y="112"/>
                </a:cubicBezTo>
                <a:lnTo>
                  <a:pt x="631" y="0"/>
                </a:lnTo>
                <a:lnTo>
                  <a:pt x="105" y="207"/>
                </a:lnTo>
                <a:lnTo>
                  <a:pt x="0" y="763"/>
                </a:lnTo>
                <a:lnTo>
                  <a:pt x="72" y="667"/>
                </a:lnTo>
                <a:cubicBezTo>
                  <a:pt x="251" y="800"/>
                  <a:pt x="553" y="995"/>
                  <a:pt x="1104" y="937"/>
                </a:cubicBezTo>
                <a:close/>
              </a:path>
            </a:pathLst>
          </a:custGeom>
          <a:solidFill>
            <a:schemeClr val="accent6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" name="Freeform 7"/>
          <p:cNvSpPr>
            <a:spLocks/>
          </p:cNvSpPr>
          <p:nvPr/>
        </p:nvSpPr>
        <p:spPr bwMode="gray">
          <a:xfrm>
            <a:off x="2209453" y="3630327"/>
            <a:ext cx="1627229" cy="1717123"/>
          </a:xfrm>
          <a:custGeom>
            <a:avLst/>
            <a:gdLst>
              <a:gd name="T0" fmla="*/ 1481565971 w 1141"/>
              <a:gd name="T1" fmla="*/ 2147483647 h 1242"/>
              <a:gd name="T2" fmla="*/ 1691326554 w 1141"/>
              <a:gd name="T3" fmla="*/ 1664205033 h 1242"/>
              <a:gd name="T4" fmla="*/ 2147483647 w 1141"/>
              <a:gd name="T5" fmla="*/ 1365394109 h 1242"/>
              <a:gd name="T6" fmla="*/ 1879005805 w 1141"/>
              <a:gd name="T7" fmla="*/ 508391853 h 1242"/>
              <a:gd name="T8" fmla="*/ 2147483647 w 1141"/>
              <a:gd name="T9" fmla="*/ 464815012 h 1242"/>
              <a:gd name="T10" fmla="*/ 1042174169 w 1141"/>
              <a:gd name="T11" fmla="*/ 0 h 1242"/>
              <a:gd name="T12" fmla="*/ 0 w 1141"/>
              <a:gd name="T13" fmla="*/ 626670614 h 1242"/>
              <a:gd name="T14" fmla="*/ 236255971 w 1141"/>
              <a:gd name="T15" fmla="*/ 572719227 h 1242"/>
              <a:gd name="T16" fmla="*/ 1481565971 w 1141"/>
              <a:gd name="T17" fmla="*/ 2147483647 h 12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41"/>
              <a:gd name="T28" fmla="*/ 0 h 1242"/>
              <a:gd name="T29" fmla="*/ 1141 w 1141"/>
              <a:gd name="T30" fmla="*/ 1242 h 12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41" h="1242">
                <a:moveTo>
                  <a:pt x="671" y="1242"/>
                </a:moveTo>
                <a:cubicBezTo>
                  <a:pt x="694" y="1139"/>
                  <a:pt x="719" y="954"/>
                  <a:pt x="766" y="802"/>
                </a:cubicBezTo>
                <a:lnTo>
                  <a:pt x="1141" y="658"/>
                </a:lnTo>
                <a:cubicBezTo>
                  <a:pt x="951" y="506"/>
                  <a:pt x="864" y="328"/>
                  <a:pt x="851" y="245"/>
                </a:cubicBezTo>
                <a:lnTo>
                  <a:pt x="990" y="224"/>
                </a:lnTo>
                <a:lnTo>
                  <a:pt x="472" y="0"/>
                </a:lnTo>
                <a:lnTo>
                  <a:pt x="0" y="302"/>
                </a:lnTo>
                <a:lnTo>
                  <a:pt x="107" y="276"/>
                </a:lnTo>
                <a:cubicBezTo>
                  <a:pt x="140" y="495"/>
                  <a:pt x="240" y="894"/>
                  <a:pt x="671" y="124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3" name="Freeform 8"/>
          <p:cNvSpPr>
            <a:spLocks/>
          </p:cNvSpPr>
          <p:nvPr/>
        </p:nvSpPr>
        <p:spPr bwMode="gray">
          <a:xfrm>
            <a:off x="2256686" y="2260592"/>
            <a:ext cx="1441347" cy="1584567"/>
          </a:xfrm>
          <a:custGeom>
            <a:avLst/>
            <a:gdLst>
              <a:gd name="T0" fmla="*/ 123810213 w 1010"/>
              <a:gd name="T1" fmla="*/ 2147483647 h 1146"/>
              <a:gd name="T2" fmla="*/ 986056677 w 1010"/>
              <a:gd name="T3" fmla="*/ 1892865651 h 1146"/>
              <a:gd name="T4" fmla="*/ 1781976790 w 1010"/>
              <a:gd name="T5" fmla="*/ 2147483647 h 1146"/>
              <a:gd name="T6" fmla="*/ 1985379525 w 1010"/>
              <a:gd name="T7" fmla="*/ 1226626567 h 1146"/>
              <a:gd name="T8" fmla="*/ 2147483647 w 1010"/>
              <a:gd name="T9" fmla="*/ 1400969788 h 1146"/>
              <a:gd name="T10" fmla="*/ 1779765761 w 1010"/>
              <a:gd name="T11" fmla="*/ 309251275 h 1146"/>
              <a:gd name="T12" fmla="*/ 508504052 w 1010"/>
              <a:gd name="T13" fmla="*/ 0 h 1146"/>
              <a:gd name="T14" fmla="*/ 734015587 w 1010"/>
              <a:gd name="T15" fmla="*/ 199249485 h 1146"/>
              <a:gd name="T16" fmla="*/ 123810213 w 1010"/>
              <a:gd name="T17" fmla="*/ 2147483647 h 114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10"/>
              <a:gd name="T28" fmla="*/ 0 h 1146"/>
              <a:gd name="T29" fmla="*/ 1010 w 1010"/>
              <a:gd name="T30" fmla="*/ 1146 h 114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10" h="1146">
                <a:moveTo>
                  <a:pt x="56" y="1146"/>
                </a:moveTo>
                <a:cubicBezTo>
                  <a:pt x="145" y="1090"/>
                  <a:pt x="305" y="986"/>
                  <a:pt x="446" y="912"/>
                </a:cubicBezTo>
                <a:lnTo>
                  <a:pt x="806" y="1068"/>
                </a:lnTo>
                <a:cubicBezTo>
                  <a:pt x="780" y="826"/>
                  <a:pt x="848" y="659"/>
                  <a:pt x="898" y="591"/>
                </a:cubicBezTo>
                <a:lnTo>
                  <a:pt x="1010" y="675"/>
                </a:lnTo>
                <a:lnTo>
                  <a:pt x="805" y="149"/>
                </a:lnTo>
                <a:lnTo>
                  <a:pt x="230" y="0"/>
                </a:lnTo>
                <a:lnTo>
                  <a:pt x="332" y="96"/>
                </a:lnTo>
                <a:cubicBezTo>
                  <a:pt x="199" y="274"/>
                  <a:pt x="0" y="595"/>
                  <a:pt x="56" y="114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4" name="Freeform 9"/>
          <p:cNvSpPr>
            <a:spLocks/>
          </p:cNvSpPr>
          <p:nvPr/>
        </p:nvSpPr>
        <p:spPr bwMode="gray">
          <a:xfrm>
            <a:off x="2858516" y="1305280"/>
            <a:ext cx="1756737" cy="1569331"/>
          </a:xfrm>
          <a:custGeom>
            <a:avLst/>
            <a:gdLst>
              <a:gd name="T0" fmla="*/ 0 w 1232"/>
              <a:gd name="T1" fmla="*/ 1384681002 h 1134"/>
              <a:gd name="T2" fmla="*/ 940317263 w 1232"/>
              <a:gd name="T3" fmla="*/ 1571800719 h 1134"/>
              <a:gd name="T4" fmla="*/ 1284658869 w 1232"/>
              <a:gd name="T5" fmla="*/ 2147483647 h 1134"/>
              <a:gd name="T6" fmla="*/ 2147483647 w 1232"/>
              <a:gd name="T7" fmla="*/ 1829609642 h 1134"/>
              <a:gd name="T8" fmla="*/ 2147483647 w 1232"/>
              <a:gd name="T9" fmla="*/ 2118604163 h 1134"/>
              <a:gd name="T10" fmla="*/ 2147483647 w 1232"/>
              <a:gd name="T11" fmla="*/ 1047867026 h 1134"/>
              <a:gd name="T12" fmla="*/ 2066048893 w 1232"/>
              <a:gd name="T13" fmla="*/ 0 h 1134"/>
              <a:gd name="T14" fmla="*/ 2092537509 w 1232"/>
              <a:gd name="T15" fmla="*/ 261967477 h 1134"/>
              <a:gd name="T16" fmla="*/ 0 w 1232"/>
              <a:gd name="T17" fmla="*/ 1384681002 h 11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32"/>
              <a:gd name="T28" fmla="*/ 0 h 1134"/>
              <a:gd name="T29" fmla="*/ 1232 w 1232"/>
              <a:gd name="T30" fmla="*/ 1134 h 11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32" h="1134">
                <a:moveTo>
                  <a:pt x="0" y="666"/>
                </a:moveTo>
                <a:cubicBezTo>
                  <a:pt x="108" y="678"/>
                  <a:pt x="275" y="707"/>
                  <a:pt x="426" y="756"/>
                </a:cubicBezTo>
                <a:lnTo>
                  <a:pt x="582" y="1134"/>
                </a:lnTo>
                <a:cubicBezTo>
                  <a:pt x="754" y="958"/>
                  <a:pt x="898" y="892"/>
                  <a:pt x="982" y="880"/>
                </a:cubicBezTo>
                <a:lnTo>
                  <a:pt x="1000" y="1019"/>
                </a:lnTo>
                <a:lnTo>
                  <a:pt x="1232" y="504"/>
                </a:lnTo>
                <a:lnTo>
                  <a:pt x="936" y="0"/>
                </a:lnTo>
                <a:lnTo>
                  <a:pt x="948" y="126"/>
                </a:lnTo>
                <a:cubicBezTo>
                  <a:pt x="728" y="156"/>
                  <a:pt x="354" y="240"/>
                  <a:pt x="0" y="66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639313" y="27425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740592" y="169419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664453" y="395698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4685526" y="490302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3347974" y="490302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4" hasCustomPrompt="1"/>
          </p:nvPr>
        </p:nvSpPr>
        <p:spPr>
          <a:xfrm>
            <a:off x="2451896" y="402899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5" hasCustomPrompt="1"/>
          </p:nvPr>
        </p:nvSpPr>
        <p:spPr>
          <a:xfrm>
            <a:off x="2411760" y="2774051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5" name="Espace réservé du texte 4"/>
          <p:cNvSpPr>
            <a:spLocks noGrp="1"/>
          </p:cNvSpPr>
          <p:nvPr>
            <p:ph type="body" sz="quarter" idx="26" hasCustomPrompt="1"/>
          </p:nvPr>
        </p:nvSpPr>
        <p:spPr>
          <a:xfrm>
            <a:off x="3377070" y="1775031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617668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ycle 8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grpSp>
        <p:nvGrpSpPr>
          <p:cNvPr id="20" name="Groupe 19"/>
          <p:cNvGrpSpPr/>
          <p:nvPr/>
        </p:nvGrpSpPr>
        <p:grpSpPr>
          <a:xfrm>
            <a:off x="2209165" y="1373534"/>
            <a:ext cx="4638675" cy="4503738"/>
            <a:chOff x="2209165" y="1193165"/>
            <a:chExt cx="4638675" cy="4503738"/>
          </a:xfrm>
        </p:grpSpPr>
        <p:sp>
          <p:nvSpPr>
            <p:cNvPr id="21" name="Line 2"/>
            <p:cNvSpPr>
              <a:spLocks noChangeShapeType="1"/>
            </p:cNvSpPr>
            <p:nvPr/>
          </p:nvSpPr>
          <p:spPr bwMode="auto">
            <a:xfrm>
              <a:off x="4511040" y="1626553"/>
              <a:ext cx="0" cy="3621087"/>
            </a:xfrm>
            <a:prstGeom prst="line">
              <a:avLst/>
            </a:prstGeom>
            <a:noFill/>
            <a:ln w="19050">
              <a:solidFill>
                <a:srgbClr val="DEDEDE"/>
              </a:solidFill>
              <a:prstDash val="dash"/>
              <a:round/>
              <a:headEnd type="none" w="sm" len="sm"/>
              <a:tailEnd type="none" w="sm" len="sm"/>
            </a:ln>
          </p:spPr>
          <p:txBody>
            <a:bodyPr vert="horz" wrap="non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Line 3"/>
            <p:cNvSpPr>
              <a:spLocks noChangeShapeType="1"/>
            </p:cNvSpPr>
            <p:nvPr/>
          </p:nvSpPr>
          <p:spPr bwMode="auto">
            <a:xfrm>
              <a:off x="2663190" y="3450590"/>
              <a:ext cx="3729038" cy="0"/>
            </a:xfrm>
            <a:prstGeom prst="line">
              <a:avLst/>
            </a:prstGeom>
            <a:noFill/>
            <a:ln w="19050">
              <a:solidFill>
                <a:srgbClr val="DEDEDE"/>
              </a:solidFill>
              <a:prstDash val="dash"/>
              <a:round/>
              <a:headEnd type="none" w="sm" len="sm"/>
              <a:tailEnd type="none" w="sm" len="sm"/>
            </a:ln>
          </p:spPr>
          <p:txBody>
            <a:bodyPr vert="horz" wrap="non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4"/>
            <p:cNvSpPr>
              <a:spLocks/>
            </p:cNvSpPr>
            <p:nvPr/>
          </p:nvSpPr>
          <p:spPr bwMode="auto">
            <a:xfrm rot="-5400000">
              <a:off x="2295684" y="1209834"/>
              <a:ext cx="2266950" cy="2233612"/>
            </a:xfrm>
            <a:custGeom>
              <a:avLst/>
              <a:gdLst>
                <a:gd name="T0" fmla="*/ 7832173 w 1620"/>
                <a:gd name="T1" fmla="*/ 41639259 h 1548"/>
                <a:gd name="T2" fmla="*/ 203651899 w 1620"/>
                <a:gd name="T3" fmla="*/ 274819411 h 1548"/>
                <a:gd name="T4" fmla="*/ 0 w 1620"/>
                <a:gd name="T5" fmla="*/ 524654984 h 1548"/>
                <a:gd name="T6" fmla="*/ 2147483647 w 1620"/>
                <a:gd name="T7" fmla="*/ 2147483647 h 1548"/>
                <a:gd name="T8" fmla="*/ 2147483647 w 1620"/>
                <a:gd name="T9" fmla="*/ 2147483647 h 1548"/>
                <a:gd name="T10" fmla="*/ 2147483647 w 1620"/>
                <a:gd name="T11" fmla="*/ 2147483647 h 1548"/>
                <a:gd name="T12" fmla="*/ 2147483647 w 1620"/>
                <a:gd name="T13" fmla="*/ 2147483647 h 1548"/>
                <a:gd name="T14" fmla="*/ 2147483647 w 1620"/>
                <a:gd name="T15" fmla="*/ 2147483647 h 1548"/>
                <a:gd name="T16" fmla="*/ 7832173 w 1620"/>
                <a:gd name="T17" fmla="*/ 41639259 h 15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20"/>
                <a:gd name="T28" fmla="*/ 0 h 1548"/>
                <a:gd name="T29" fmla="*/ 1620 w 1620"/>
                <a:gd name="T30" fmla="*/ 1548 h 15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15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44015" tIns="44015" rIns="44015" bIns="44015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en-GB"/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4509453" y="1286828"/>
              <a:ext cx="2338387" cy="2168525"/>
            </a:xfrm>
            <a:custGeom>
              <a:avLst/>
              <a:gdLst>
                <a:gd name="T0" fmla="*/ 8334473 w 1620"/>
                <a:gd name="T1" fmla="*/ 39247780 h 1548"/>
                <a:gd name="T2" fmla="*/ 216689110 w 1620"/>
                <a:gd name="T3" fmla="*/ 259036481 h 1548"/>
                <a:gd name="T4" fmla="*/ 0 w 1620"/>
                <a:gd name="T5" fmla="*/ 494524581 h 1548"/>
                <a:gd name="T6" fmla="*/ 2147483647 w 1620"/>
                <a:gd name="T7" fmla="*/ 2147483647 h 1548"/>
                <a:gd name="T8" fmla="*/ 2147483647 w 1620"/>
                <a:gd name="T9" fmla="*/ 2147483647 h 1548"/>
                <a:gd name="T10" fmla="*/ 2147483647 w 1620"/>
                <a:gd name="T11" fmla="*/ 2147483647 h 1548"/>
                <a:gd name="T12" fmla="*/ 2147483647 w 1620"/>
                <a:gd name="T13" fmla="*/ 2147483647 h 1548"/>
                <a:gd name="T14" fmla="*/ 2147483647 w 1620"/>
                <a:gd name="T15" fmla="*/ 2147483647 h 1548"/>
                <a:gd name="T16" fmla="*/ 8334473 w 1620"/>
                <a:gd name="T17" fmla="*/ 39247780 h 15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20"/>
                <a:gd name="T28" fmla="*/ 0 h 1548"/>
                <a:gd name="T29" fmla="*/ 1620 w 1620"/>
                <a:gd name="T30" fmla="*/ 1548 h 15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44015" tIns="44015" rIns="44015" bIns="44015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en-GB"/>
            </a:p>
          </p:txBody>
        </p:sp>
        <p:sp>
          <p:nvSpPr>
            <p:cNvPr id="37" name="Freeform 8"/>
            <p:cNvSpPr>
              <a:spLocks/>
            </p:cNvSpPr>
            <p:nvPr/>
          </p:nvSpPr>
          <p:spPr bwMode="auto">
            <a:xfrm rot="10800000">
              <a:off x="2209165" y="3436303"/>
              <a:ext cx="2336800" cy="2166937"/>
            </a:xfrm>
            <a:custGeom>
              <a:avLst/>
              <a:gdLst/>
              <a:ahLst/>
              <a:cxnLst>
                <a:cxn ang="0">
                  <a:pos x="4" y="20"/>
                </a:cxn>
                <a:cxn ang="0">
                  <a:pos x="104" y="132"/>
                </a:cxn>
                <a:cxn ang="0">
                  <a:pos x="0" y="252"/>
                </a:cxn>
                <a:cxn ang="0">
                  <a:pos x="1288" y="1388"/>
                </a:cxn>
                <a:cxn ang="0">
                  <a:pos x="1172" y="1388"/>
                </a:cxn>
                <a:cxn ang="0">
                  <a:pos x="1416" y="1548"/>
                </a:cxn>
                <a:cxn ang="0">
                  <a:pos x="1620" y="1376"/>
                </a:cxn>
                <a:cxn ang="0">
                  <a:pos x="1524" y="1384"/>
                </a:cxn>
                <a:cxn ang="0">
                  <a:pos x="4" y="20"/>
                </a:cxn>
              </a:cxnLst>
              <a:rect l="0" t="0" r="r" b="b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chemeClr val="accent3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015" tIns="44015" rIns="44015" bIns="44015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8" name="Freeform 10"/>
            <p:cNvSpPr>
              <a:spLocks/>
            </p:cNvSpPr>
            <p:nvPr/>
          </p:nvSpPr>
          <p:spPr bwMode="auto">
            <a:xfrm rot="5400000">
              <a:off x="4492784" y="3445034"/>
              <a:ext cx="2268538" cy="2235200"/>
            </a:xfrm>
            <a:custGeom>
              <a:avLst/>
              <a:gdLst>
                <a:gd name="T0" fmla="*/ 7843260 w 1620"/>
                <a:gd name="T1" fmla="*/ 41699185 h 1548"/>
                <a:gd name="T2" fmla="*/ 203937391 w 1620"/>
                <a:gd name="T3" fmla="*/ 275209725 h 1548"/>
                <a:gd name="T4" fmla="*/ 0 w 1620"/>
                <a:gd name="T5" fmla="*/ 525401968 h 1548"/>
                <a:gd name="T6" fmla="*/ 2147483647 w 1620"/>
                <a:gd name="T7" fmla="*/ 2147483647 h 1548"/>
                <a:gd name="T8" fmla="*/ 2147483647 w 1620"/>
                <a:gd name="T9" fmla="*/ 2147483647 h 1548"/>
                <a:gd name="T10" fmla="*/ 2147483647 w 1620"/>
                <a:gd name="T11" fmla="*/ 2147483647 h 1548"/>
                <a:gd name="T12" fmla="*/ 2147483647 w 1620"/>
                <a:gd name="T13" fmla="*/ 2147483647 h 1548"/>
                <a:gd name="T14" fmla="*/ 2147483647 w 1620"/>
                <a:gd name="T15" fmla="*/ 2147483647 h 1548"/>
                <a:gd name="T16" fmla="*/ 7843260 w 1620"/>
                <a:gd name="T17" fmla="*/ 41699185 h 15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20"/>
                <a:gd name="T28" fmla="*/ 0 h 1548"/>
                <a:gd name="T29" fmla="*/ 1620 w 1620"/>
                <a:gd name="T30" fmla="*/ 1548 h 15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44015" tIns="44015" rIns="44015" bIns="44015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en-GB"/>
            </a:p>
          </p:txBody>
        </p:sp>
      </p:grpSp>
      <p:sp>
        <p:nvSpPr>
          <p:cNvPr id="39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627721" y="2507007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0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4644008" y="3753385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1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3059832" y="2492235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3076119" y="3738613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8941942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en ro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rde 3"/>
          <p:cNvSpPr/>
          <p:nvPr/>
        </p:nvSpPr>
        <p:spPr>
          <a:xfrm flipH="1">
            <a:off x="3454134" y="1287890"/>
            <a:ext cx="3487723" cy="1893859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68000">
                <a:srgbClr val="481454"/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9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9" name="Corde 3"/>
          <p:cNvSpPr/>
          <p:nvPr/>
        </p:nvSpPr>
        <p:spPr>
          <a:xfrm rot="16200000" flipH="1">
            <a:off x="1671825" y="2078767"/>
            <a:ext cx="3420000" cy="1944000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0000">
                <a:srgbClr val="E0AFEB"/>
              </a:gs>
              <a:gs pos="98000">
                <a:schemeClr val="accent1">
                  <a:lumMod val="75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0" name="Corde 3"/>
          <p:cNvSpPr/>
          <p:nvPr/>
        </p:nvSpPr>
        <p:spPr>
          <a:xfrm rot="10800000" flipH="1">
            <a:off x="2458357" y="3889375"/>
            <a:ext cx="3487738" cy="1893888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1000">
                <a:srgbClr val="C261D9"/>
              </a:gs>
              <a:gs pos="98000">
                <a:schemeClr val="accent1">
                  <a:lumMod val="50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 dirty="0"/>
          </a:p>
        </p:txBody>
      </p:sp>
      <p:sp>
        <p:nvSpPr>
          <p:cNvPr id="12" name="Corde 3"/>
          <p:cNvSpPr/>
          <p:nvPr/>
        </p:nvSpPr>
        <p:spPr>
          <a:xfrm rot="16200000" flipV="1">
            <a:off x="4365738" y="3045237"/>
            <a:ext cx="3365500" cy="1954213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67784"/>
              <a:gd name="connsiteY0" fmla="*/ 2092160 h 2092160"/>
              <a:gd name="connsiteX1" fmla="*/ 2100170 w 3767784"/>
              <a:gd name="connsiteY1" fmla="*/ 13962 h 2092160"/>
              <a:gd name="connsiteX2" fmla="*/ 3654156 w 3767784"/>
              <a:gd name="connsiteY2" fmla="*/ 1330992 h 2092160"/>
              <a:gd name="connsiteX3" fmla="*/ 3670932 w 3767784"/>
              <a:gd name="connsiteY3" fmla="*/ 1315579 h 2092160"/>
              <a:gd name="connsiteX4" fmla="*/ 3511187 w 3767784"/>
              <a:gd name="connsiteY4" fmla="*/ 1198777 h 2092160"/>
              <a:gd name="connsiteX5" fmla="*/ 2516309 w 3767784"/>
              <a:gd name="connsiteY5" fmla="*/ 1555802 h 2092160"/>
              <a:gd name="connsiteX6" fmla="*/ 1284194 w 3767784"/>
              <a:gd name="connsiteY6" fmla="*/ 1238087 h 2092160"/>
              <a:gd name="connsiteX7" fmla="*/ 0 w 3767784"/>
              <a:gd name="connsiteY7" fmla="*/ 2092160 h 2092160"/>
              <a:gd name="connsiteX0" fmla="*/ 0 w 3678934"/>
              <a:gd name="connsiteY0" fmla="*/ 2091943 h 2091943"/>
              <a:gd name="connsiteX1" fmla="*/ 2100170 w 3678934"/>
              <a:gd name="connsiteY1" fmla="*/ 13745 h 2091943"/>
              <a:gd name="connsiteX2" fmla="*/ 3654156 w 3678934"/>
              <a:gd name="connsiteY2" fmla="*/ 1330775 h 2091943"/>
              <a:gd name="connsiteX3" fmla="*/ 3670932 w 3678934"/>
              <a:gd name="connsiteY3" fmla="*/ 1315362 h 2091943"/>
              <a:gd name="connsiteX4" fmla="*/ 3511187 w 3678934"/>
              <a:gd name="connsiteY4" fmla="*/ 1198560 h 2091943"/>
              <a:gd name="connsiteX5" fmla="*/ 2516309 w 3678934"/>
              <a:gd name="connsiteY5" fmla="*/ 1555585 h 2091943"/>
              <a:gd name="connsiteX6" fmla="*/ 1284194 w 3678934"/>
              <a:gd name="connsiteY6" fmla="*/ 1237870 h 2091943"/>
              <a:gd name="connsiteX7" fmla="*/ 0 w 3678934"/>
              <a:gd name="connsiteY7" fmla="*/ 2091943 h 2091943"/>
              <a:gd name="connsiteX0" fmla="*/ 0 w 3702865"/>
              <a:gd name="connsiteY0" fmla="*/ 2090945 h 2090945"/>
              <a:gd name="connsiteX1" fmla="*/ 2100170 w 3702865"/>
              <a:gd name="connsiteY1" fmla="*/ 12747 h 2090945"/>
              <a:gd name="connsiteX2" fmla="*/ 3654156 w 3702865"/>
              <a:gd name="connsiteY2" fmla="*/ 1329777 h 2090945"/>
              <a:gd name="connsiteX3" fmla="*/ 3670932 w 3702865"/>
              <a:gd name="connsiteY3" fmla="*/ 1314364 h 2090945"/>
              <a:gd name="connsiteX4" fmla="*/ 3511187 w 3702865"/>
              <a:gd name="connsiteY4" fmla="*/ 1197562 h 2090945"/>
              <a:gd name="connsiteX5" fmla="*/ 2516309 w 3702865"/>
              <a:gd name="connsiteY5" fmla="*/ 1554587 h 2090945"/>
              <a:gd name="connsiteX6" fmla="*/ 1284194 w 3702865"/>
              <a:gd name="connsiteY6" fmla="*/ 1236872 h 2090945"/>
              <a:gd name="connsiteX7" fmla="*/ 0 w 3702865"/>
              <a:gd name="connsiteY7" fmla="*/ 2090945 h 2090945"/>
              <a:gd name="connsiteX0" fmla="*/ 0 w 3673572"/>
              <a:gd name="connsiteY0" fmla="*/ 2091435 h 2091435"/>
              <a:gd name="connsiteX1" fmla="*/ 2100170 w 3673572"/>
              <a:gd name="connsiteY1" fmla="*/ 13237 h 2091435"/>
              <a:gd name="connsiteX2" fmla="*/ 3593866 w 3673572"/>
              <a:gd name="connsiteY2" fmla="*/ 1280026 h 2091435"/>
              <a:gd name="connsiteX3" fmla="*/ 3670932 w 3673572"/>
              <a:gd name="connsiteY3" fmla="*/ 1314854 h 2091435"/>
              <a:gd name="connsiteX4" fmla="*/ 3511187 w 3673572"/>
              <a:gd name="connsiteY4" fmla="*/ 1198052 h 2091435"/>
              <a:gd name="connsiteX5" fmla="*/ 2516309 w 3673572"/>
              <a:gd name="connsiteY5" fmla="*/ 1555077 h 2091435"/>
              <a:gd name="connsiteX6" fmla="*/ 1284194 w 3673572"/>
              <a:gd name="connsiteY6" fmla="*/ 1237362 h 2091435"/>
              <a:gd name="connsiteX7" fmla="*/ 0 w 3673572"/>
              <a:gd name="connsiteY7" fmla="*/ 2091435 h 2091435"/>
              <a:gd name="connsiteX0" fmla="*/ 0 w 3718415"/>
              <a:gd name="connsiteY0" fmla="*/ 2091435 h 2091435"/>
              <a:gd name="connsiteX1" fmla="*/ 2100170 w 3718415"/>
              <a:gd name="connsiteY1" fmla="*/ 13237 h 2091435"/>
              <a:gd name="connsiteX2" fmla="*/ 3593866 w 3718415"/>
              <a:gd name="connsiteY2" fmla="*/ 1280026 h 2091435"/>
              <a:gd name="connsiteX3" fmla="*/ 3511187 w 3718415"/>
              <a:gd name="connsiteY3" fmla="*/ 1198052 h 2091435"/>
              <a:gd name="connsiteX4" fmla="*/ 2516309 w 3718415"/>
              <a:gd name="connsiteY4" fmla="*/ 1555077 h 2091435"/>
              <a:gd name="connsiteX5" fmla="*/ 1284194 w 3718415"/>
              <a:gd name="connsiteY5" fmla="*/ 1237362 h 2091435"/>
              <a:gd name="connsiteX6" fmla="*/ 0 w 3718415"/>
              <a:gd name="connsiteY6" fmla="*/ 2091435 h 2091435"/>
              <a:gd name="connsiteX0" fmla="*/ 0 w 3769134"/>
              <a:gd name="connsiteY0" fmla="*/ 2091435 h 2091435"/>
              <a:gd name="connsiteX1" fmla="*/ 2100170 w 3769134"/>
              <a:gd name="connsiteY1" fmla="*/ 13237 h 2091435"/>
              <a:gd name="connsiteX2" fmla="*/ 3664204 w 3769134"/>
              <a:gd name="connsiteY2" fmla="*/ 1280026 h 2091435"/>
              <a:gd name="connsiteX3" fmla="*/ 3511187 w 3769134"/>
              <a:gd name="connsiteY3" fmla="*/ 1198052 h 2091435"/>
              <a:gd name="connsiteX4" fmla="*/ 2516309 w 3769134"/>
              <a:gd name="connsiteY4" fmla="*/ 1555077 h 2091435"/>
              <a:gd name="connsiteX5" fmla="*/ 1284194 w 3769134"/>
              <a:gd name="connsiteY5" fmla="*/ 1237362 h 2091435"/>
              <a:gd name="connsiteX6" fmla="*/ 0 w 3769134"/>
              <a:gd name="connsiteY6" fmla="*/ 2091435 h 2091435"/>
              <a:gd name="connsiteX0" fmla="*/ 0 w 3712117"/>
              <a:gd name="connsiteY0" fmla="*/ 2091435 h 2091435"/>
              <a:gd name="connsiteX1" fmla="*/ 2100170 w 3712117"/>
              <a:gd name="connsiteY1" fmla="*/ 13237 h 2091435"/>
              <a:gd name="connsiteX2" fmla="*/ 3664204 w 3712117"/>
              <a:gd name="connsiteY2" fmla="*/ 1280026 h 2091435"/>
              <a:gd name="connsiteX3" fmla="*/ 3511187 w 3712117"/>
              <a:gd name="connsiteY3" fmla="*/ 1198052 h 2091435"/>
              <a:gd name="connsiteX4" fmla="*/ 2516309 w 3712117"/>
              <a:gd name="connsiteY4" fmla="*/ 1555077 h 2091435"/>
              <a:gd name="connsiteX5" fmla="*/ 1284194 w 3712117"/>
              <a:gd name="connsiteY5" fmla="*/ 1237362 h 2091435"/>
              <a:gd name="connsiteX6" fmla="*/ 0 w 3712117"/>
              <a:gd name="connsiteY6" fmla="*/ 2091435 h 2091435"/>
              <a:gd name="connsiteX0" fmla="*/ 0 w 3721391"/>
              <a:gd name="connsiteY0" fmla="*/ 2091335 h 2091335"/>
              <a:gd name="connsiteX1" fmla="*/ 2100170 w 3721391"/>
              <a:gd name="connsiteY1" fmla="*/ 13137 h 2091335"/>
              <a:gd name="connsiteX2" fmla="*/ 3674252 w 3721391"/>
              <a:gd name="connsiteY2" fmla="*/ 1289974 h 2091335"/>
              <a:gd name="connsiteX3" fmla="*/ 3511187 w 3721391"/>
              <a:gd name="connsiteY3" fmla="*/ 1197952 h 2091335"/>
              <a:gd name="connsiteX4" fmla="*/ 2516309 w 3721391"/>
              <a:gd name="connsiteY4" fmla="*/ 1554977 h 2091335"/>
              <a:gd name="connsiteX5" fmla="*/ 1284194 w 3721391"/>
              <a:gd name="connsiteY5" fmla="*/ 1237262 h 2091335"/>
              <a:gd name="connsiteX6" fmla="*/ 0 w 3721391"/>
              <a:gd name="connsiteY6" fmla="*/ 2091335 h 2091335"/>
              <a:gd name="connsiteX0" fmla="*/ 0 w 3704420"/>
              <a:gd name="connsiteY0" fmla="*/ 2090906 h 2090906"/>
              <a:gd name="connsiteX1" fmla="*/ 2100170 w 3704420"/>
              <a:gd name="connsiteY1" fmla="*/ 12708 h 2090906"/>
              <a:gd name="connsiteX2" fmla="*/ 3674252 w 3704420"/>
              <a:gd name="connsiteY2" fmla="*/ 1289545 h 2090906"/>
              <a:gd name="connsiteX3" fmla="*/ 3511187 w 3704420"/>
              <a:gd name="connsiteY3" fmla="*/ 1197523 h 2090906"/>
              <a:gd name="connsiteX4" fmla="*/ 2516309 w 3704420"/>
              <a:gd name="connsiteY4" fmla="*/ 1554548 h 2090906"/>
              <a:gd name="connsiteX5" fmla="*/ 1284194 w 3704420"/>
              <a:gd name="connsiteY5" fmla="*/ 1236833 h 2090906"/>
              <a:gd name="connsiteX6" fmla="*/ 0 w 3704420"/>
              <a:gd name="connsiteY6" fmla="*/ 2090906 h 2090906"/>
              <a:gd name="connsiteX0" fmla="*/ 0 w 3680360"/>
              <a:gd name="connsiteY0" fmla="*/ 2090860 h 2090860"/>
              <a:gd name="connsiteX1" fmla="*/ 2100170 w 3680360"/>
              <a:gd name="connsiteY1" fmla="*/ 12662 h 2090860"/>
              <a:gd name="connsiteX2" fmla="*/ 3674252 w 3680360"/>
              <a:gd name="connsiteY2" fmla="*/ 1289499 h 2090860"/>
              <a:gd name="connsiteX3" fmla="*/ 3511187 w 3680360"/>
              <a:gd name="connsiteY3" fmla="*/ 1197477 h 2090860"/>
              <a:gd name="connsiteX4" fmla="*/ 2516309 w 3680360"/>
              <a:gd name="connsiteY4" fmla="*/ 1554502 h 2090860"/>
              <a:gd name="connsiteX5" fmla="*/ 1284194 w 3680360"/>
              <a:gd name="connsiteY5" fmla="*/ 1236787 h 2090860"/>
              <a:gd name="connsiteX6" fmla="*/ 0 w 3680360"/>
              <a:gd name="connsiteY6" fmla="*/ 2090860 h 2090860"/>
              <a:gd name="connsiteX0" fmla="*/ 0 w 3714444"/>
              <a:gd name="connsiteY0" fmla="*/ 2090125 h 2090125"/>
              <a:gd name="connsiteX1" fmla="*/ 2100170 w 3714444"/>
              <a:gd name="connsiteY1" fmla="*/ 11927 h 2090125"/>
              <a:gd name="connsiteX2" fmla="*/ 3674252 w 3714444"/>
              <a:gd name="connsiteY2" fmla="*/ 1288764 h 2090125"/>
              <a:gd name="connsiteX3" fmla="*/ 3511187 w 3714444"/>
              <a:gd name="connsiteY3" fmla="*/ 1196742 h 2090125"/>
              <a:gd name="connsiteX4" fmla="*/ 2516309 w 3714444"/>
              <a:gd name="connsiteY4" fmla="*/ 1553767 h 2090125"/>
              <a:gd name="connsiteX5" fmla="*/ 1284194 w 3714444"/>
              <a:gd name="connsiteY5" fmla="*/ 1236052 h 2090125"/>
              <a:gd name="connsiteX6" fmla="*/ 0 w 3714444"/>
              <a:gd name="connsiteY6" fmla="*/ 2090125 h 2090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4444" h="2090125">
                <a:moveTo>
                  <a:pt x="0" y="2090125"/>
                </a:moveTo>
                <a:cubicBezTo>
                  <a:pt x="156059" y="1005439"/>
                  <a:pt x="1157717" y="147815"/>
                  <a:pt x="2100170" y="11927"/>
                </a:cubicBezTo>
                <a:cubicBezTo>
                  <a:pt x="3561816" y="-139459"/>
                  <a:pt x="3833361" y="1198632"/>
                  <a:pt x="3674252" y="1288764"/>
                </a:cubicBezTo>
                <a:cubicBezTo>
                  <a:pt x="3673286" y="1219955"/>
                  <a:pt x="3690780" y="1150900"/>
                  <a:pt x="3511187" y="1196742"/>
                </a:cubicBezTo>
                <a:cubicBezTo>
                  <a:pt x="3300346" y="1305876"/>
                  <a:pt x="2807833" y="1517327"/>
                  <a:pt x="2516309" y="1553767"/>
                </a:cubicBezTo>
                <a:cubicBezTo>
                  <a:pt x="2165014" y="1543434"/>
                  <a:pt x="2441040" y="1638730"/>
                  <a:pt x="1284194" y="1236052"/>
                </a:cubicBezTo>
                <a:cubicBezTo>
                  <a:pt x="848019" y="1034852"/>
                  <a:pt x="256627" y="1405576"/>
                  <a:pt x="0" y="2090125"/>
                </a:cubicBezTo>
                <a:close/>
              </a:path>
            </a:pathLst>
          </a:custGeom>
          <a:gradFill>
            <a:gsLst>
              <a:gs pos="71000">
                <a:srgbClr val="932AAC"/>
              </a:gs>
              <a:gs pos="98000">
                <a:schemeClr val="tx1"/>
              </a:gs>
            </a:gsLst>
            <a:lin ang="20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171" y="2948838"/>
            <a:ext cx="580365" cy="480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2298" y="4541948"/>
            <a:ext cx="57467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979" y="1516173"/>
            <a:ext cx="595312" cy="52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utoShape 3"/>
          <p:cNvSpPr>
            <a:spLocks noChangeAspect="1" noChangeArrowheads="1" noTextEdit="1"/>
          </p:cNvSpPr>
          <p:nvPr/>
        </p:nvSpPr>
        <p:spPr bwMode="auto">
          <a:xfrm>
            <a:off x="2797175" y="2914650"/>
            <a:ext cx="614363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3000375" y="2889250"/>
            <a:ext cx="223838" cy="339725"/>
          </a:xfrm>
          <a:custGeom>
            <a:avLst/>
            <a:gdLst>
              <a:gd name="T0" fmla="*/ 2147483647 w 174"/>
              <a:gd name="T1" fmla="*/ 2147483647 h 273"/>
              <a:gd name="T2" fmla="*/ 2147483647 w 174"/>
              <a:gd name="T3" fmla="*/ 2147483647 h 273"/>
              <a:gd name="T4" fmla="*/ 2147483647 w 174"/>
              <a:gd name="T5" fmla="*/ 2147483647 h 273"/>
              <a:gd name="T6" fmla="*/ 2147483647 w 174"/>
              <a:gd name="T7" fmla="*/ 2147483647 h 273"/>
              <a:gd name="T8" fmla="*/ 0 w 174"/>
              <a:gd name="T9" fmla="*/ 2147483647 h 273"/>
              <a:gd name="T10" fmla="*/ 2147483647 w 174"/>
              <a:gd name="T11" fmla="*/ 2147483647 h 273"/>
              <a:gd name="T12" fmla="*/ 2147483647 w 174"/>
              <a:gd name="T13" fmla="*/ 2147483647 h 273"/>
              <a:gd name="T14" fmla="*/ 2147483647 w 174"/>
              <a:gd name="T15" fmla="*/ 2147483647 h 27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74" h="273">
                <a:moveTo>
                  <a:pt x="108" y="24"/>
                </a:moveTo>
                <a:cubicBezTo>
                  <a:pt x="137" y="45"/>
                  <a:pt x="135" y="113"/>
                  <a:pt x="114" y="143"/>
                </a:cubicBezTo>
                <a:cubicBezTo>
                  <a:pt x="115" y="162"/>
                  <a:pt x="136" y="155"/>
                  <a:pt x="152" y="156"/>
                </a:cubicBezTo>
                <a:cubicBezTo>
                  <a:pt x="163" y="182"/>
                  <a:pt x="174" y="208"/>
                  <a:pt x="173" y="248"/>
                </a:cubicBezTo>
                <a:cubicBezTo>
                  <a:pt x="123" y="270"/>
                  <a:pt x="49" y="273"/>
                  <a:pt x="0" y="248"/>
                </a:cubicBezTo>
                <a:cubicBezTo>
                  <a:pt x="2" y="218"/>
                  <a:pt x="6" y="190"/>
                  <a:pt x="16" y="169"/>
                </a:cubicBezTo>
                <a:cubicBezTo>
                  <a:pt x="23" y="154"/>
                  <a:pt x="48" y="159"/>
                  <a:pt x="60" y="149"/>
                </a:cubicBezTo>
                <a:cubicBezTo>
                  <a:pt x="37" y="102"/>
                  <a:pt x="28" y="0"/>
                  <a:pt x="108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2852738" y="2946400"/>
            <a:ext cx="176212" cy="203200"/>
          </a:xfrm>
          <a:custGeom>
            <a:avLst/>
            <a:gdLst>
              <a:gd name="T0" fmla="*/ 2147483647 w 137"/>
              <a:gd name="T1" fmla="*/ 2147483647 h 164"/>
              <a:gd name="T2" fmla="*/ 2147483647 w 137"/>
              <a:gd name="T3" fmla="*/ 2147483647 h 164"/>
              <a:gd name="T4" fmla="*/ 2147483647 w 137"/>
              <a:gd name="T5" fmla="*/ 2147483647 h 164"/>
              <a:gd name="T6" fmla="*/ 2147483647 w 137"/>
              <a:gd name="T7" fmla="*/ 2147483647 h 164"/>
              <a:gd name="T8" fmla="*/ 2147483647 w 137"/>
              <a:gd name="T9" fmla="*/ 2147483647 h 164"/>
              <a:gd name="T10" fmla="*/ 2147483647 w 137"/>
              <a:gd name="T11" fmla="*/ 2147483647 h 164"/>
              <a:gd name="T12" fmla="*/ 2147483647 w 137"/>
              <a:gd name="T13" fmla="*/ 2147483647 h 1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7" h="164">
                <a:moveTo>
                  <a:pt x="77" y="12"/>
                </a:moveTo>
                <a:cubicBezTo>
                  <a:pt x="95" y="0"/>
                  <a:pt x="118" y="37"/>
                  <a:pt x="137" y="45"/>
                </a:cubicBezTo>
                <a:cubicBezTo>
                  <a:pt x="126" y="74"/>
                  <a:pt x="104" y="89"/>
                  <a:pt x="82" y="104"/>
                </a:cubicBezTo>
                <a:cubicBezTo>
                  <a:pt x="82" y="96"/>
                  <a:pt x="82" y="87"/>
                  <a:pt x="82" y="78"/>
                </a:cubicBezTo>
                <a:cubicBezTo>
                  <a:pt x="50" y="85"/>
                  <a:pt x="44" y="135"/>
                  <a:pt x="44" y="164"/>
                </a:cubicBezTo>
                <a:cubicBezTo>
                  <a:pt x="0" y="130"/>
                  <a:pt x="32" y="30"/>
                  <a:pt x="82" y="32"/>
                </a:cubicBezTo>
                <a:cubicBezTo>
                  <a:pt x="83" y="22"/>
                  <a:pt x="83" y="13"/>
                  <a:pt x="77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" name="Freeform 7"/>
          <p:cNvSpPr>
            <a:spLocks/>
          </p:cNvSpPr>
          <p:nvPr/>
        </p:nvSpPr>
        <p:spPr bwMode="auto">
          <a:xfrm>
            <a:off x="3195638" y="2925763"/>
            <a:ext cx="168275" cy="215900"/>
          </a:xfrm>
          <a:custGeom>
            <a:avLst/>
            <a:gdLst>
              <a:gd name="T0" fmla="*/ 2147483647 w 130"/>
              <a:gd name="T1" fmla="*/ 2147483647 h 173"/>
              <a:gd name="T2" fmla="*/ 2147483647 w 130"/>
              <a:gd name="T3" fmla="*/ 2147483647 h 173"/>
              <a:gd name="T4" fmla="*/ 2147483647 w 130"/>
              <a:gd name="T5" fmla="*/ 2147483647 h 173"/>
              <a:gd name="T6" fmla="*/ 2147483647 w 130"/>
              <a:gd name="T7" fmla="*/ 2147483647 h 173"/>
              <a:gd name="T8" fmla="*/ 0 w 130"/>
              <a:gd name="T9" fmla="*/ 2147483647 h 173"/>
              <a:gd name="T10" fmla="*/ 2147483647 w 130"/>
              <a:gd name="T11" fmla="*/ 2147483647 h 173"/>
              <a:gd name="T12" fmla="*/ 2147483647 w 130"/>
              <a:gd name="T13" fmla="*/ 2147483647 h 1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0" h="173">
                <a:moveTo>
                  <a:pt x="130" y="101"/>
                </a:moveTo>
                <a:cubicBezTo>
                  <a:pt x="122" y="129"/>
                  <a:pt x="104" y="144"/>
                  <a:pt x="97" y="173"/>
                </a:cubicBezTo>
                <a:cubicBezTo>
                  <a:pt x="76" y="157"/>
                  <a:pt x="64" y="130"/>
                  <a:pt x="43" y="114"/>
                </a:cubicBezTo>
                <a:cubicBezTo>
                  <a:pt x="44" y="100"/>
                  <a:pt x="67" y="112"/>
                  <a:pt x="70" y="101"/>
                </a:cubicBezTo>
                <a:cubicBezTo>
                  <a:pt x="63" y="67"/>
                  <a:pt x="38" y="56"/>
                  <a:pt x="0" y="61"/>
                </a:cubicBezTo>
                <a:cubicBezTo>
                  <a:pt x="22" y="0"/>
                  <a:pt x="108" y="39"/>
                  <a:pt x="108" y="101"/>
                </a:cubicBezTo>
                <a:cubicBezTo>
                  <a:pt x="115" y="101"/>
                  <a:pt x="123" y="101"/>
                  <a:pt x="130" y="1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3216275" y="3136900"/>
            <a:ext cx="196850" cy="339725"/>
          </a:xfrm>
          <a:custGeom>
            <a:avLst/>
            <a:gdLst>
              <a:gd name="T0" fmla="*/ 2147483647 w 153"/>
              <a:gd name="T1" fmla="*/ 2147483647 h 273"/>
              <a:gd name="T2" fmla="*/ 2147483647 w 153"/>
              <a:gd name="T3" fmla="*/ 2147483647 h 273"/>
              <a:gd name="T4" fmla="*/ 2147483647 w 153"/>
              <a:gd name="T5" fmla="*/ 2147483647 h 273"/>
              <a:gd name="T6" fmla="*/ 2147483647 w 153"/>
              <a:gd name="T7" fmla="*/ 2147483647 h 273"/>
              <a:gd name="T8" fmla="*/ 2147483647 w 153"/>
              <a:gd name="T9" fmla="*/ 2147483647 h 273"/>
              <a:gd name="T10" fmla="*/ 2147483647 w 153"/>
              <a:gd name="T11" fmla="*/ 2147483647 h 273"/>
              <a:gd name="T12" fmla="*/ 2147483647 w 153"/>
              <a:gd name="T13" fmla="*/ 2147483647 h 273"/>
              <a:gd name="T14" fmla="*/ 2147483647 w 153"/>
              <a:gd name="T15" fmla="*/ 2147483647 h 273"/>
              <a:gd name="T16" fmla="*/ 2147483647 w 153"/>
              <a:gd name="T17" fmla="*/ 2147483647 h 273"/>
              <a:gd name="T18" fmla="*/ 2147483647 w 153"/>
              <a:gd name="T19" fmla="*/ 2147483647 h 2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3" h="273">
                <a:moveTo>
                  <a:pt x="115" y="37"/>
                </a:moveTo>
                <a:cubicBezTo>
                  <a:pt x="125" y="62"/>
                  <a:pt x="128" y="96"/>
                  <a:pt x="131" y="130"/>
                </a:cubicBezTo>
                <a:cubicBezTo>
                  <a:pt x="115" y="137"/>
                  <a:pt x="99" y="144"/>
                  <a:pt x="93" y="163"/>
                </a:cubicBezTo>
                <a:cubicBezTo>
                  <a:pt x="99" y="184"/>
                  <a:pt x="130" y="175"/>
                  <a:pt x="142" y="189"/>
                </a:cubicBezTo>
                <a:cubicBezTo>
                  <a:pt x="147" y="207"/>
                  <a:pt x="153" y="224"/>
                  <a:pt x="153" y="249"/>
                </a:cubicBezTo>
                <a:cubicBezTo>
                  <a:pt x="110" y="273"/>
                  <a:pt x="50" y="269"/>
                  <a:pt x="1" y="255"/>
                </a:cubicBezTo>
                <a:cubicBezTo>
                  <a:pt x="0" y="230"/>
                  <a:pt x="1" y="207"/>
                  <a:pt x="6" y="189"/>
                </a:cubicBezTo>
                <a:cubicBezTo>
                  <a:pt x="19" y="179"/>
                  <a:pt x="41" y="179"/>
                  <a:pt x="55" y="169"/>
                </a:cubicBezTo>
                <a:cubicBezTo>
                  <a:pt x="55" y="143"/>
                  <a:pt x="34" y="142"/>
                  <a:pt x="23" y="130"/>
                </a:cubicBezTo>
                <a:cubicBezTo>
                  <a:pt x="4" y="40"/>
                  <a:pt x="63" y="0"/>
                  <a:pt x="115" y="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2" name="Freeform 9"/>
          <p:cNvSpPr>
            <a:spLocks/>
          </p:cNvSpPr>
          <p:nvPr/>
        </p:nvSpPr>
        <p:spPr bwMode="auto">
          <a:xfrm>
            <a:off x="2794000" y="3152775"/>
            <a:ext cx="201613" cy="331788"/>
          </a:xfrm>
          <a:custGeom>
            <a:avLst/>
            <a:gdLst>
              <a:gd name="T0" fmla="*/ 2147483647 w 156"/>
              <a:gd name="T1" fmla="*/ 2147483647 h 267"/>
              <a:gd name="T2" fmla="*/ 2147483647 w 156"/>
              <a:gd name="T3" fmla="*/ 2147483647 h 267"/>
              <a:gd name="T4" fmla="*/ 2147483647 w 156"/>
              <a:gd name="T5" fmla="*/ 2147483647 h 267"/>
              <a:gd name="T6" fmla="*/ 2147483647 w 156"/>
              <a:gd name="T7" fmla="*/ 2147483647 h 267"/>
              <a:gd name="T8" fmla="*/ 2147483647 w 156"/>
              <a:gd name="T9" fmla="*/ 2147483647 h 267"/>
              <a:gd name="T10" fmla="*/ 2147483647 w 156"/>
              <a:gd name="T11" fmla="*/ 2147483647 h 267"/>
              <a:gd name="T12" fmla="*/ 2147483647 w 156"/>
              <a:gd name="T13" fmla="*/ 2147483647 h 267"/>
              <a:gd name="T14" fmla="*/ 2147483647 w 156"/>
              <a:gd name="T15" fmla="*/ 2147483647 h 267"/>
              <a:gd name="T16" fmla="*/ 2147483647 w 156"/>
              <a:gd name="T17" fmla="*/ 2147483647 h 26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6" h="267">
                <a:moveTo>
                  <a:pt x="133" y="117"/>
                </a:moveTo>
                <a:cubicBezTo>
                  <a:pt x="129" y="141"/>
                  <a:pt x="98" y="132"/>
                  <a:pt x="100" y="163"/>
                </a:cubicBezTo>
                <a:cubicBezTo>
                  <a:pt x="111" y="177"/>
                  <a:pt x="137" y="172"/>
                  <a:pt x="149" y="183"/>
                </a:cubicBezTo>
                <a:cubicBezTo>
                  <a:pt x="155" y="200"/>
                  <a:pt x="156" y="223"/>
                  <a:pt x="155" y="249"/>
                </a:cubicBezTo>
                <a:cubicBezTo>
                  <a:pt x="106" y="263"/>
                  <a:pt x="45" y="267"/>
                  <a:pt x="3" y="242"/>
                </a:cubicBezTo>
                <a:cubicBezTo>
                  <a:pt x="0" y="193"/>
                  <a:pt x="17" y="167"/>
                  <a:pt x="57" y="170"/>
                </a:cubicBezTo>
                <a:cubicBezTo>
                  <a:pt x="60" y="135"/>
                  <a:pt x="34" y="136"/>
                  <a:pt x="24" y="117"/>
                </a:cubicBezTo>
                <a:cubicBezTo>
                  <a:pt x="25" y="78"/>
                  <a:pt x="31" y="45"/>
                  <a:pt x="46" y="24"/>
                </a:cubicBezTo>
                <a:cubicBezTo>
                  <a:pt x="103" y="0"/>
                  <a:pt x="144" y="38"/>
                  <a:pt x="133" y="1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3021013" y="3314700"/>
            <a:ext cx="209550" cy="106363"/>
          </a:xfrm>
          <a:custGeom>
            <a:avLst/>
            <a:gdLst>
              <a:gd name="T0" fmla="*/ 2147483647 w 163"/>
              <a:gd name="T1" fmla="*/ 0 h 86"/>
              <a:gd name="T2" fmla="*/ 2147483647 w 163"/>
              <a:gd name="T3" fmla="*/ 2147483647 h 86"/>
              <a:gd name="T4" fmla="*/ 0 w 163"/>
              <a:gd name="T5" fmla="*/ 2147483647 h 86"/>
              <a:gd name="T6" fmla="*/ 2147483647 w 163"/>
              <a:gd name="T7" fmla="*/ 2147483647 h 86"/>
              <a:gd name="T8" fmla="*/ 2147483647 w 163"/>
              <a:gd name="T9" fmla="*/ 2147483647 h 86"/>
              <a:gd name="T10" fmla="*/ 2147483647 w 163"/>
              <a:gd name="T11" fmla="*/ 0 h 8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3" h="86">
                <a:moveTo>
                  <a:pt x="130" y="0"/>
                </a:moveTo>
                <a:cubicBezTo>
                  <a:pt x="163" y="74"/>
                  <a:pt x="57" y="84"/>
                  <a:pt x="22" y="86"/>
                </a:cubicBezTo>
                <a:cubicBezTo>
                  <a:pt x="7" y="69"/>
                  <a:pt x="8" y="32"/>
                  <a:pt x="0" y="7"/>
                </a:cubicBezTo>
                <a:cubicBezTo>
                  <a:pt x="24" y="7"/>
                  <a:pt x="47" y="7"/>
                  <a:pt x="71" y="7"/>
                </a:cubicBezTo>
                <a:cubicBezTo>
                  <a:pt x="71" y="18"/>
                  <a:pt x="67" y="24"/>
                  <a:pt x="60" y="26"/>
                </a:cubicBezTo>
                <a:cubicBezTo>
                  <a:pt x="81" y="57"/>
                  <a:pt x="124" y="28"/>
                  <a:pt x="13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8" name="Espace réservé pour une image  27"/>
          <p:cNvSpPr>
            <a:spLocks noGrp="1"/>
          </p:cNvSpPr>
          <p:nvPr>
            <p:ph type="pic" sz="quarter" idx="11"/>
          </p:nvPr>
        </p:nvSpPr>
        <p:spPr>
          <a:xfrm>
            <a:off x="4067175" y="2798763"/>
            <a:ext cx="1368425" cy="1471612"/>
          </a:xfr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11608" y="1999988"/>
            <a:ext cx="1936055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 hasCustomPrompt="1"/>
          </p:nvPr>
        </p:nvSpPr>
        <p:spPr>
          <a:xfrm>
            <a:off x="2409453" y="3688581"/>
            <a:ext cx="1442467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15"/>
          <p:cNvSpPr>
            <a:spLocks noGrp="1"/>
          </p:cNvSpPr>
          <p:nvPr>
            <p:ph type="body" sz="quarter" idx="14" hasCustomPrompt="1"/>
          </p:nvPr>
        </p:nvSpPr>
        <p:spPr>
          <a:xfrm>
            <a:off x="5580112" y="3622229"/>
            <a:ext cx="1438512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7592" y="5104606"/>
            <a:ext cx="2224087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4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6242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idées en roue coule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rde 3"/>
          <p:cNvSpPr/>
          <p:nvPr/>
        </p:nvSpPr>
        <p:spPr>
          <a:xfrm flipH="1">
            <a:off x="3454134" y="1287890"/>
            <a:ext cx="3487723" cy="1893859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68000">
                <a:srgbClr val="481454"/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9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9" name="Corde 3"/>
          <p:cNvSpPr/>
          <p:nvPr/>
        </p:nvSpPr>
        <p:spPr>
          <a:xfrm rot="16200000" flipH="1">
            <a:off x="1671825" y="2078767"/>
            <a:ext cx="3420000" cy="1944000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0000">
                <a:schemeClr val="accent5"/>
              </a:gs>
              <a:gs pos="98000">
                <a:schemeClr val="accent5">
                  <a:lumMod val="75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0" name="Corde 3"/>
          <p:cNvSpPr/>
          <p:nvPr/>
        </p:nvSpPr>
        <p:spPr>
          <a:xfrm rot="10800000" flipH="1">
            <a:off x="2458357" y="3889375"/>
            <a:ext cx="3487738" cy="1893888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1000">
                <a:schemeClr val="accent3">
                  <a:lumMod val="40000"/>
                  <a:lumOff val="60000"/>
                </a:schemeClr>
              </a:gs>
              <a:gs pos="98000">
                <a:schemeClr val="accent3">
                  <a:lumMod val="75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 dirty="0"/>
          </a:p>
        </p:txBody>
      </p:sp>
      <p:sp>
        <p:nvSpPr>
          <p:cNvPr id="12" name="Corde 3"/>
          <p:cNvSpPr/>
          <p:nvPr/>
        </p:nvSpPr>
        <p:spPr>
          <a:xfrm rot="16200000" flipV="1">
            <a:off x="4365738" y="3045237"/>
            <a:ext cx="3365500" cy="1954213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67784"/>
              <a:gd name="connsiteY0" fmla="*/ 2092160 h 2092160"/>
              <a:gd name="connsiteX1" fmla="*/ 2100170 w 3767784"/>
              <a:gd name="connsiteY1" fmla="*/ 13962 h 2092160"/>
              <a:gd name="connsiteX2" fmla="*/ 3654156 w 3767784"/>
              <a:gd name="connsiteY2" fmla="*/ 1330992 h 2092160"/>
              <a:gd name="connsiteX3" fmla="*/ 3670932 w 3767784"/>
              <a:gd name="connsiteY3" fmla="*/ 1315579 h 2092160"/>
              <a:gd name="connsiteX4" fmla="*/ 3511187 w 3767784"/>
              <a:gd name="connsiteY4" fmla="*/ 1198777 h 2092160"/>
              <a:gd name="connsiteX5" fmla="*/ 2516309 w 3767784"/>
              <a:gd name="connsiteY5" fmla="*/ 1555802 h 2092160"/>
              <a:gd name="connsiteX6" fmla="*/ 1284194 w 3767784"/>
              <a:gd name="connsiteY6" fmla="*/ 1238087 h 2092160"/>
              <a:gd name="connsiteX7" fmla="*/ 0 w 3767784"/>
              <a:gd name="connsiteY7" fmla="*/ 2092160 h 2092160"/>
              <a:gd name="connsiteX0" fmla="*/ 0 w 3678934"/>
              <a:gd name="connsiteY0" fmla="*/ 2091943 h 2091943"/>
              <a:gd name="connsiteX1" fmla="*/ 2100170 w 3678934"/>
              <a:gd name="connsiteY1" fmla="*/ 13745 h 2091943"/>
              <a:gd name="connsiteX2" fmla="*/ 3654156 w 3678934"/>
              <a:gd name="connsiteY2" fmla="*/ 1330775 h 2091943"/>
              <a:gd name="connsiteX3" fmla="*/ 3670932 w 3678934"/>
              <a:gd name="connsiteY3" fmla="*/ 1315362 h 2091943"/>
              <a:gd name="connsiteX4" fmla="*/ 3511187 w 3678934"/>
              <a:gd name="connsiteY4" fmla="*/ 1198560 h 2091943"/>
              <a:gd name="connsiteX5" fmla="*/ 2516309 w 3678934"/>
              <a:gd name="connsiteY5" fmla="*/ 1555585 h 2091943"/>
              <a:gd name="connsiteX6" fmla="*/ 1284194 w 3678934"/>
              <a:gd name="connsiteY6" fmla="*/ 1237870 h 2091943"/>
              <a:gd name="connsiteX7" fmla="*/ 0 w 3678934"/>
              <a:gd name="connsiteY7" fmla="*/ 2091943 h 2091943"/>
              <a:gd name="connsiteX0" fmla="*/ 0 w 3702865"/>
              <a:gd name="connsiteY0" fmla="*/ 2090945 h 2090945"/>
              <a:gd name="connsiteX1" fmla="*/ 2100170 w 3702865"/>
              <a:gd name="connsiteY1" fmla="*/ 12747 h 2090945"/>
              <a:gd name="connsiteX2" fmla="*/ 3654156 w 3702865"/>
              <a:gd name="connsiteY2" fmla="*/ 1329777 h 2090945"/>
              <a:gd name="connsiteX3" fmla="*/ 3670932 w 3702865"/>
              <a:gd name="connsiteY3" fmla="*/ 1314364 h 2090945"/>
              <a:gd name="connsiteX4" fmla="*/ 3511187 w 3702865"/>
              <a:gd name="connsiteY4" fmla="*/ 1197562 h 2090945"/>
              <a:gd name="connsiteX5" fmla="*/ 2516309 w 3702865"/>
              <a:gd name="connsiteY5" fmla="*/ 1554587 h 2090945"/>
              <a:gd name="connsiteX6" fmla="*/ 1284194 w 3702865"/>
              <a:gd name="connsiteY6" fmla="*/ 1236872 h 2090945"/>
              <a:gd name="connsiteX7" fmla="*/ 0 w 3702865"/>
              <a:gd name="connsiteY7" fmla="*/ 2090945 h 2090945"/>
              <a:gd name="connsiteX0" fmla="*/ 0 w 3673572"/>
              <a:gd name="connsiteY0" fmla="*/ 2091435 h 2091435"/>
              <a:gd name="connsiteX1" fmla="*/ 2100170 w 3673572"/>
              <a:gd name="connsiteY1" fmla="*/ 13237 h 2091435"/>
              <a:gd name="connsiteX2" fmla="*/ 3593866 w 3673572"/>
              <a:gd name="connsiteY2" fmla="*/ 1280026 h 2091435"/>
              <a:gd name="connsiteX3" fmla="*/ 3670932 w 3673572"/>
              <a:gd name="connsiteY3" fmla="*/ 1314854 h 2091435"/>
              <a:gd name="connsiteX4" fmla="*/ 3511187 w 3673572"/>
              <a:gd name="connsiteY4" fmla="*/ 1198052 h 2091435"/>
              <a:gd name="connsiteX5" fmla="*/ 2516309 w 3673572"/>
              <a:gd name="connsiteY5" fmla="*/ 1555077 h 2091435"/>
              <a:gd name="connsiteX6" fmla="*/ 1284194 w 3673572"/>
              <a:gd name="connsiteY6" fmla="*/ 1237362 h 2091435"/>
              <a:gd name="connsiteX7" fmla="*/ 0 w 3673572"/>
              <a:gd name="connsiteY7" fmla="*/ 2091435 h 2091435"/>
              <a:gd name="connsiteX0" fmla="*/ 0 w 3718415"/>
              <a:gd name="connsiteY0" fmla="*/ 2091435 h 2091435"/>
              <a:gd name="connsiteX1" fmla="*/ 2100170 w 3718415"/>
              <a:gd name="connsiteY1" fmla="*/ 13237 h 2091435"/>
              <a:gd name="connsiteX2" fmla="*/ 3593866 w 3718415"/>
              <a:gd name="connsiteY2" fmla="*/ 1280026 h 2091435"/>
              <a:gd name="connsiteX3" fmla="*/ 3511187 w 3718415"/>
              <a:gd name="connsiteY3" fmla="*/ 1198052 h 2091435"/>
              <a:gd name="connsiteX4" fmla="*/ 2516309 w 3718415"/>
              <a:gd name="connsiteY4" fmla="*/ 1555077 h 2091435"/>
              <a:gd name="connsiteX5" fmla="*/ 1284194 w 3718415"/>
              <a:gd name="connsiteY5" fmla="*/ 1237362 h 2091435"/>
              <a:gd name="connsiteX6" fmla="*/ 0 w 3718415"/>
              <a:gd name="connsiteY6" fmla="*/ 2091435 h 2091435"/>
              <a:gd name="connsiteX0" fmla="*/ 0 w 3769134"/>
              <a:gd name="connsiteY0" fmla="*/ 2091435 h 2091435"/>
              <a:gd name="connsiteX1" fmla="*/ 2100170 w 3769134"/>
              <a:gd name="connsiteY1" fmla="*/ 13237 h 2091435"/>
              <a:gd name="connsiteX2" fmla="*/ 3664204 w 3769134"/>
              <a:gd name="connsiteY2" fmla="*/ 1280026 h 2091435"/>
              <a:gd name="connsiteX3" fmla="*/ 3511187 w 3769134"/>
              <a:gd name="connsiteY3" fmla="*/ 1198052 h 2091435"/>
              <a:gd name="connsiteX4" fmla="*/ 2516309 w 3769134"/>
              <a:gd name="connsiteY4" fmla="*/ 1555077 h 2091435"/>
              <a:gd name="connsiteX5" fmla="*/ 1284194 w 3769134"/>
              <a:gd name="connsiteY5" fmla="*/ 1237362 h 2091435"/>
              <a:gd name="connsiteX6" fmla="*/ 0 w 3769134"/>
              <a:gd name="connsiteY6" fmla="*/ 2091435 h 2091435"/>
              <a:gd name="connsiteX0" fmla="*/ 0 w 3712117"/>
              <a:gd name="connsiteY0" fmla="*/ 2091435 h 2091435"/>
              <a:gd name="connsiteX1" fmla="*/ 2100170 w 3712117"/>
              <a:gd name="connsiteY1" fmla="*/ 13237 h 2091435"/>
              <a:gd name="connsiteX2" fmla="*/ 3664204 w 3712117"/>
              <a:gd name="connsiteY2" fmla="*/ 1280026 h 2091435"/>
              <a:gd name="connsiteX3" fmla="*/ 3511187 w 3712117"/>
              <a:gd name="connsiteY3" fmla="*/ 1198052 h 2091435"/>
              <a:gd name="connsiteX4" fmla="*/ 2516309 w 3712117"/>
              <a:gd name="connsiteY4" fmla="*/ 1555077 h 2091435"/>
              <a:gd name="connsiteX5" fmla="*/ 1284194 w 3712117"/>
              <a:gd name="connsiteY5" fmla="*/ 1237362 h 2091435"/>
              <a:gd name="connsiteX6" fmla="*/ 0 w 3712117"/>
              <a:gd name="connsiteY6" fmla="*/ 2091435 h 2091435"/>
              <a:gd name="connsiteX0" fmla="*/ 0 w 3721391"/>
              <a:gd name="connsiteY0" fmla="*/ 2091335 h 2091335"/>
              <a:gd name="connsiteX1" fmla="*/ 2100170 w 3721391"/>
              <a:gd name="connsiteY1" fmla="*/ 13137 h 2091335"/>
              <a:gd name="connsiteX2" fmla="*/ 3674252 w 3721391"/>
              <a:gd name="connsiteY2" fmla="*/ 1289974 h 2091335"/>
              <a:gd name="connsiteX3" fmla="*/ 3511187 w 3721391"/>
              <a:gd name="connsiteY3" fmla="*/ 1197952 h 2091335"/>
              <a:gd name="connsiteX4" fmla="*/ 2516309 w 3721391"/>
              <a:gd name="connsiteY4" fmla="*/ 1554977 h 2091335"/>
              <a:gd name="connsiteX5" fmla="*/ 1284194 w 3721391"/>
              <a:gd name="connsiteY5" fmla="*/ 1237262 h 2091335"/>
              <a:gd name="connsiteX6" fmla="*/ 0 w 3721391"/>
              <a:gd name="connsiteY6" fmla="*/ 2091335 h 2091335"/>
              <a:gd name="connsiteX0" fmla="*/ 0 w 3704420"/>
              <a:gd name="connsiteY0" fmla="*/ 2090906 h 2090906"/>
              <a:gd name="connsiteX1" fmla="*/ 2100170 w 3704420"/>
              <a:gd name="connsiteY1" fmla="*/ 12708 h 2090906"/>
              <a:gd name="connsiteX2" fmla="*/ 3674252 w 3704420"/>
              <a:gd name="connsiteY2" fmla="*/ 1289545 h 2090906"/>
              <a:gd name="connsiteX3" fmla="*/ 3511187 w 3704420"/>
              <a:gd name="connsiteY3" fmla="*/ 1197523 h 2090906"/>
              <a:gd name="connsiteX4" fmla="*/ 2516309 w 3704420"/>
              <a:gd name="connsiteY4" fmla="*/ 1554548 h 2090906"/>
              <a:gd name="connsiteX5" fmla="*/ 1284194 w 3704420"/>
              <a:gd name="connsiteY5" fmla="*/ 1236833 h 2090906"/>
              <a:gd name="connsiteX6" fmla="*/ 0 w 3704420"/>
              <a:gd name="connsiteY6" fmla="*/ 2090906 h 2090906"/>
              <a:gd name="connsiteX0" fmla="*/ 0 w 3680360"/>
              <a:gd name="connsiteY0" fmla="*/ 2090860 h 2090860"/>
              <a:gd name="connsiteX1" fmla="*/ 2100170 w 3680360"/>
              <a:gd name="connsiteY1" fmla="*/ 12662 h 2090860"/>
              <a:gd name="connsiteX2" fmla="*/ 3674252 w 3680360"/>
              <a:gd name="connsiteY2" fmla="*/ 1289499 h 2090860"/>
              <a:gd name="connsiteX3" fmla="*/ 3511187 w 3680360"/>
              <a:gd name="connsiteY3" fmla="*/ 1197477 h 2090860"/>
              <a:gd name="connsiteX4" fmla="*/ 2516309 w 3680360"/>
              <a:gd name="connsiteY4" fmla="*/ 1554502 h 2090860"/>
              <a:gd name="connsiteX5" fmla="*/ 1284194 w 3680360"/>
              <a:gd name="connsiteY5" fmla="*/ 1236787 h 2090860"/>
              <a:gd name="connsiteX6" fmla="*/ 0 w 3680360"/>
              <a:gd name="connsiteY6" fmla="*/ 2090860 h 2090860"/>
              <a:gd name="connsiteX0" fmla="*/ 0 w 3714444"/>
              <a:gd name="connsiteY0" fmla="*/ 2090125 h 2090125"/>
              <a:gd name="connsiteX1" fmla="*/ 2100170 w 3714444"/>
              <a:gd name="connsiteY1" fmla="*/ 11927 h 2090125"/>
              <a:gd name="connsiteX2" fmla="*/ 3674252 w 3714444"/>
              <a:gd name="connsiteY2" fmla="*/ 1288764 h 2090125"/>
              <a:gd name="connsiteX3" fmla="*/ 3511187 w 3714444"/>
              <a:gd name="connsiteY3" fmla="*/ 1196742 h 2090125"/>
              <a:gd name="connsiteX4" fmla="*/ 2516309 w 3714444"/>
              <a:gd name="connsiteY4" fmla="*/ 1553767 h 2090125"/>
              <a:gd name="connsiteX5" fmla="*/ 1284194 w 3714444"/>
              <a:gd name="connsiteY5" fmla="*/ 1236052 h 2090125"/>
              <a:gd name="connsiteX6" fmla="*/ 0 w 3714444"/>
              <a:gd name="connsiteY6" fmla="*/ 2090125 h 2090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4444" h="2090125">
                <a:moveTo>
                  <a:pt x="0" y="2090125"/>
                </a:moveTo>
                <a:cubicBezTo>
                  <a:pt x="156059" y="1005439"/>
                  <a:pt x="1157717" y="147815"/>
                  <a:pt x="2100170" y="11927"/>
                </a:cubicBezTo>
                <a:cubicBezTo>
                  <a:pt x="3561816" y="-139459"/>
                  <a:pt x="3833361" y="1198632"/>
                  <a:pt x="3674252" y="1288764"/>
                </a:cubicBezTo>
                <a:cubicBezTo>
                  <a:pt x="3673286" y="1219955"/>
                  <a:pt x="3690780" y="1150900"/>
                  <a:pt x="3511187" y="1196742"/>
                </a:cubicBezTo>
                <a:cubicBezTo>
                  <a:pt x="3300346" y="1305876"/>
                  <a:pt x="2807833" y="1517327"/>
                  <a:pt x="2516309" y="1553767"/>
                </a:cubicBezTo>
                <a:cubicBezTo>
                  <a:pt x="2165014" y="1543434"/>
                  <a:pt x="2441040" y="1638730"/>
                  <a:pt x="1284194" y="1236052"/>
                </a:cubicBezTo>
                <a:cubicBezTo>
                  <a:pt x="848019" y="1034852"/>
                  <a:pt x="256627" y="1405576"/>
                  <a:pt x="0" y="2090125"/>
                </a:cubicBezTo>
                <a:close/>
              </a:path>
            </a:pathLst>
          </a:custGeom>
          <a:gradFill>
            <a:gsLst>
              <a:gs pos="71000">
                <a:schemeClr val="accent2"/>
              </a:gs>
              <a:gs pos="98000">
                <a:schemeClr val="accent2">
                  <a:lumMod val="50000"/>
                </a:schemeClr>
              </a:gs>
            </a:gsLst>
            <a:lin ang="20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171" y="2948838"/>
            <a:ext cx="580365" cy="480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2298" y="4541948"/>
            <a:ext cx="57467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979" y="1516173"/>
            <a:ext cx="595312" cy="52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utoShape 3"/>
          <p:cNvSpPr>
            <a:spLocks noChangeAspect="1" noChangeArrowheads="1" noTextEdit="1"/>
          </p:cNvSpPr>
          <p:nvPr/>
        </p:nvSpPr>
        <p:spPr bwMode="auto">
          <a:xfrm>
            <a:off x="2797175" y="2914650"/>
            <a:ext cx="614363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3000375" y="2889250"/>
            <a:ext cx="223838" cy="339725"/>
          </a:xfrm>
          <a:custGeom>
            <a:avLst/>
            <a:gdLst>
              <a:gd name="T0" fmla="*/ 2147483647 w 174"/>
              <a:gd name="T1" fmla="*/ 2147483647 h 273"/>
              <a:gd name="T2" fmla="*/ 2147483647 w 174"/>
              <a:gd name="T3" fmla="*/ 2147483647 h 273"/>
              <a:gd name="T4" fmla="*/ 2147483647 w 174"/>
              <a:gd name="T5" fmla="*/ 2147483647 h 273"/>
              <a:gd name="T6" fmla="*/ 2147483647 w 174"/>
              <a:gd name="T7" fmla="*/ 2147483647 h 273"/>
              <a:gd name="T8" fmla="*/ 0 w 174"/>
              <a:gd name="T9" fmla="*/ 2147483647 h 273"/>
              <a:gd name="T10" fmla="*/ 2147483647 w 174"/>
              <a:gd name="T11" fmla="*/ 2147483647 h 273"/>
              <a:gd name="T12" fmla="*/ 2147483647 w 174"/>
              <a:gd name="T13" fmla="*/ 2147483647 h 273"/>
              <a:gd name="T14" fmla="*/ 2147483647 w 174"/>
              <a:gd name="T15" fmla="*/ 2147483647 h 27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74" h="273">
                <a:moveTo>
                  <a:pt x="108" y="24"/>
                </a:moveTo>
                <a:cubicBezTo>
                  <a:pt x="137" y="45"/>
                  <a:pt x="135" y="113"/>
                  <a:pt x="114" y="143"/>
                </a:cubicBezTo>
                <a:cubicBezTo>
                  <a:pt x="115" y="162"/>
                  <a:pt x="136" y="155"/>
                  <a:pt x="152" y="156"/>
                </a:cubicBezTo>
                <a:cubicBezTo>
                  <a:pt x="163" y="182"/>
                  <a:pt x="174" y="208"/>
                  <a:pt x="173" y="248"/>
                </a:cubicBezTo>
                <a:cubicBezTo>
                  <a:pt x="123" y="270"/>
                  <a:pt x="49" y="273"/>
                  <a:pt x="0" y="248"/>
                </a:cubicBezTo>
                <a:cubicBezTo>
                  <a:pt x="2" y="218"/>
                  <a:pt x="6" y="190"/>
                  <a:pt x="16" y="169"/>
                </a:cubicBezTo>
                <a:cubicBezTo>
                  <a:pt x="23" y="154"/>
                  <a:pt x="48" y="159"/>
                  <a:pt x="60" y="149"/>
                </a:cubicBezTo>
                <a:cubicBezTo>
                  <a:pt x="37" y="102"/>
                  <a:pt x="28" y="0"/>
                  <a:pt x="108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2852738" y="2946400"/>
            <a:ext cx="176212" cy="203200"/>
          </a:xfrm>
          <a:custGeom>
            <a:avLst/>
            <a:gdLst>
              <a:gd name="T0" fmla="*/ 2147483647 w 137"/>
              <a:gd name="T1" fmla="*/ 2147483647 h 164"/>
              <a:gd name="T2" fmla="*/ 2147483647 w 137"/>
              <a:gd name="T3" fmla="*/ 2147483647 h 164"/>
              <a:gd name="T4" fmla="*/ 2147483647 w 137"/>
              <a:gd name="T5" fmla="*/ 2147483647 h 164"/>
              <a:gd name="T6" fmla="*/ 2147483647 w 137"/>
              <a:gd name="T7" fmla="*/ 2147483647 h 164"/>
              <a:gd name="T8" fmla="*/ 2147483647 w 137"/>
              <a:gd name="T9" fmla="*/ 2147483647 h 164"/>
              <a:gd name="T10" fmla="*/ 2147483647 w 137"/>
              <a:gd name="T11" fmla="*/ 2147483647 h 164"/>
              <a:gd name="T12" fmla="*/ 2147483647 w 137"/>
              <a:gd name="T13" fmla="*/ 2147483647 h 1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7" h="164">
                <a:moveTo>
                  <a:pt x="77" y="12"/>
                </a:moveTo>
                <a:cubicBezTo>
                  <a:pt x="95" y="0"/>
                  <a:pt x="118" y="37"/>
                  <a:pt x="137" y="45"/>
                </a:cubicBezTo>
                <a:cubicBezTo>
                  <a:pt x="126" y="74"/>
                  <a:pt x="104" y="89"/>
                  <a:pt x="82" y="104"/>
                </a:cubicBezTo>
                <a:cubicBezTo>
                  <a:pt x="82" y="96"/>
                  <a:pt x="82" y="87"/>
                  <a:pt x="82" y="78"/>
                </a:cubicBezTo>
                <a:cubicBezTo>
                  <a:pt x="50" y="85"/>
                  <a:pt x="44" y="135"/>
                  <a:pt x="44" y="164"/>
                </a:cubicBezTo>
                <a:cubicBezTo>
                  <a:pt x="0" y="130"/>
                  <a:pt x="32" y="30"/>
                  <a:pt x="82" y="32"/>
                </a:cubicBezTo>
                <a:cubicBezTo>
                  <a:pt x="83" y="22"/>
                  <a:pt x="83" y="13"/>
                  <a:pt x="77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" name="Freeform 7"/>
          <p:cNvSpPr>
            <a:spLocks/>
          </p:cNvSpPr>
          <p:nvPr/>
        </p:nvSpPr>
        <p:spPr bwMode="auto">
          <a:xfrm>
            <a:off x="3195638" y="2925763"/>
            <a:ext cx="168275" cy="215900"/>
          </a:xfrm>
          <a:custGeom>
            <a:avLst/>
            <a:gdLst>
              <a:gd name="T0" fmla="*/ 2147483647 w 130"/>
              <a:gd name="T1" fmla="*/ 2147483647 h 173"/>
              <a:gd name="T2" fmla="*/ 2147483647 w 130"/>
              <a:gd name="T3" fmla="*/ 2147483647 h 173"/>
              <a:gd name="T4" fmla="*/ 2147483647 w 130"/>
              <a:gd name="T5" fmla="*/ 2147483647 h 173"/>
              <a:gd name="T6" fmla="*/ 2147483647 w 130"/>
              <a:gd name="T7" fmla="*/ 2147483647 h 173"/>
              <a:gd name="T8" fmla="*/ 0 w 130"/>
              <a:gd name="T9" fmla="*/ 2147483647 h 173"/>
              <a:gd name="T10" fmla="*/ 2147483647 w 130"/>
              <a:gd name="T11" fmla="*/ 2147483647 h 173"/>
              <a:gd name="T12" fmla="*/ 2147483647 w 130"/>
              <a:gd name="T13" fmla="*/ 2147483647 h 1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0" h="173">
                <a:moveTo>
                  <a:pt x="130" y="101"/>
                </a:moveTo>
                <a:cubicBezTo>
                  <a:pt x="122" y="129"/>
                  <a:pt x="104" y="144"/>
                  <a:pt x="97" y="173"/>
                </a:cubicBezTo>
                <a:cubicBezTo>
                  <a:pt x="76" y="157"/>
                  <a:pt x="64" y="130"/>
                  <a:pt x="43" y="114"/>
                </a:cubicBezTo>
                <a:cubicBezTo>
                  <a:pt x="44" y="100"/>
                  <a:pt x="67" y="112"/>
                  <a:pt x="70" y="101"/>
                </a:cubicBezTo>
                <a:cubicBezTo>
                  <a:pt x="63" y="67"/>
                  <a:pt x="38" y="56"/>
                  <a:pt x="0" y="61"/>
                </a:cubicBezTo>
                <a:cubicBezTo>
                  <a:pt x="22" y="0"/>
                  <a:pt x="108" y="39"/>
                  <a:pt x="108" y="101"/>
                </a:cubicBezTo>
                <a:cubicBezTo>
                  <a:pt x="115" y="101"/>
                  <a:pt x="123" y="101"/>
                  <a:pt x="130" y="1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3216275" y="3136900"/>
            <a:ext cx="196850" cy="339725"/>
          </a:xfrm>
          <a:custGeom>
            <a:avLst/>
            <a:gdLst>
              <a:gd name="T0" fmla="*/ 2147483647 w 153"/>
              <a:gd name="T1" fmla="*/ 2147483647 h 273"/>
              <a:gd name="T2" fmla="*/ 2147483647 w 153"/>
              <a:gd name="T3" fmla="*/ 2147483647 h 273"/>
              <a:gd name="T4" fmla="*/ 2147483647 w 153"/>
              <a:gd name="T5" fmla="*/ 2147483647 h 273"/>
              <a:gd name="T6" fmla="*/ 2147483647 w 153"/>
              <a:gd name="T7" fmla="*/ 2147483647 h 273"/>
              <a:gd name="T8" fmla="*/ 2147483647 w 153"/>
              <a:gd name="T9" fmla="*/ 2147483647 h 273"/>
              <a:gd name="T10" fmla="*/ 2147483647 w 153"/>
              <a:gd name="T11" fmla="*/ 2147483647 h 273"/>
              <a:gd name="T12" fmla="*/ 2147483647 w 153"/>
              <a:gd name="T13" fmla="*/ 2147483647 h 273"/>
              <a:gd name="T14" fmla="*/ 2147483647 w 153"/>
              <a:gd name="T15" fmla="*/ 2147483647 h 273"/>
              <a:gd name="T16" fmla="*/ 2147483647 w 153"/>
              <a:gd name="T17" fmla="*/ 2147483647 h 273"/>
              <a:gd name="T18" fmla="*/ 2147483647 w 153"/>
              <a:gd name="T19" fmla="*/ 2147483647 h 2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3" h="273">
                <a:moveTo>
                  <a:pt x="115" y="37"/>
                </a:moveTo>
                <a:cubicBezTo>
                  <a:pt x="125" y="62"/>
                  <a:pt x="128" y="96"/>
                  <a:pt x="131" y="130"/>
                </a:cubicBezTo>
                <a:cubicBezTo>
                  <a:pt x="115" y="137"/>
                  <a:pt x="99" y="144"/>
                  <a:pt x="93" y="163"/>
                </a:cubicBezTo>
                <a:cubicBezTo>
                  <a:pt x="99" y="184"/>
                  <a:pt x="130" y="175"/>
                  <a:pt x="142" y="189"/>
                </a:cubicBezTo>
                <a:cubicBezTo>
                  <a:pt x="147" y="207"/>
                  <a:pt x="153" y="224"/>
                  <a:pt x="153" y="249"/>
                </a:cubicBezTo>
                <a:cubicBezTo>
                  <a:pt x="110" y="273"/>
                  <a:pt x="50" y="269"/>
                  <a:pt x="1" y="255"/>
                </a:cubicBezTo>
                <a:cubicBezTo>
                  <a:pt x="0" y="230"/>
                  <a:pt x="1" y="207"/>
                  <a:pt x="6" y="189"/>
                </a:cubicBezTo>
                <a:cubicBezTo>
                  <a:pt x="19" y="179"/>
                  <a:pt x="41" y="179"/>
                  <a:pt x="55" y="169"/>
                </a:cubicBezTo>
                <a:cubicBezTo>
                  <a:pt x="55" y="143"/>
                  <a:pt x="34" y="142"/>
                  <a:pt x="23" y="130"/>
                </a:cubicBezTo>
                <a:cubicBezTo>
                  <a:pt x="4" y="40"/>
                  <a:pt x="63" y="0"/>
                  <a:pt x="115" y="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2" name="Freeform 9"/>
          <p:cNvSpPr>
            <a:spLocks/>
          </p:cNvSpPr>
          <p:nvPr/>
        </p:nvSpPr>
        <p:spPr bwMode="auto">
          <a:xfrm>
            <a:off x="2794000" y="3152775"/>
            <a:ext cx="201613" cy="331788"/>
          </a:xfrm>
          <a:custGeom>
            <a:avLst/>
            <a:gdLst>
              <a:gd name="T0" fmla="*/ 2147483647 w 156"/>
              <a:gd name="T1" fmla="*/ 2147483647 h 267"/>
              <a:gd name="T2" fmla="*/ 2147483647 w 156"/>
              <a:gd name="T3" fmla="*/ 2147483647 h 267"/>
              <a:gd name="T4" fmla="*/ 2147483647 w 156"/>
              <a:gd name="T5" fmla="*/ 2147483647 h 267"/>
              <a:gd name="T6" fmla="*/ 2147483647 w 156"/>
              <a:gd name="T7" fmla="*/ 2147483647 h 267"/>
              <a:gd name="T8" fmla="*/ 2147483647 w 156"/>
              <a:gd name="T9" fmla="*/ 2147483647 h 267"/>
              <a:gd name="T10" fmla="*/ 2147483647 w 156"/>
              <a:gd name="T11" fmla="*/ 2147483647 h 267"/>
              <a:gd name="T12" fmla="*/ 2147483647 w 156"/>
              <a:gd name="T13" fmla="*/ 2147483647 h 267"/>
              <a:gd name="T14" fmla="*/ 2147483647 w 156"/>
              <a:gd name="T15" fmla="*/ 2147483647 h 267"/>
              <a:gd name="T16" fmla="*/ 2147483647 w 156"/>
              <a:gd name="T17" fmla="*/ 2147483647 h 26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6" h="267">
                <a:moveTo>
                  <a:pt x="133" y="117"/>
                </a:moveTo>
                <a:cubicBezTo>
                  <a:pt x="129" y="141"/>
                  <a:pt x="98" y="132"/>
                  <a:pt x="100" y="163"/>
                </a:cubicBezTo>
                <a:cubicBezTo>
                  <a:pt x="111" y="177"/>
                  <a:pt x="137" y="172"/>
                  <a:pt x="149" y="183"/>
                </a:cubicBezTo>
                <a:cubicBezTo>
                  <a:pt x="155" y="200"/>
                  <a:pt x="156" y="223"/>
                  <a:pt x="155" y="249"/>
                </a:cubicBezTo>
                <a:cubicBezTo>
                  <a:pt x="106" y="263"/>
                  <a:pt x="45" y="267"/>
                  <a:pt x="3" y="242"/>
                </a:cubicBezTo>
                <a:cubicBezTo>
                  <a:pt x="0" y="193"/>
                  <a:pt x="17" y="167"/>
                  <a:pt x="57" y="170"/>
                </a:cubicBezTo>
                <a:cubicBezTo>
                  <a:pt x="60" y="135"/>
                  <a:pt x="34" y="136"/>
                  <a:pt x="24" y="117"/>
                </a:cubicBezTo>
                <a:cubicBezTo>
                  <a:pt x="25" y="78"/>
                  <a:pt x="31" y="45"/>
                  <a:pt x="46" y="24"/>
                </a:cubicBezTo>
                <a:cubicBezTo>
                  <a:pt x="103" y="0"/>
                  <a:pt x="144" y="38"/>
                  <a:pt x="133" y="1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3021013" y="3314700"/>
            <a:ext cx="209550" cy="106363"/>
          </a:xfrm>
          <a:custGeom>
            <a:avLst/>
            <a:gdLst>
              <a:gd name="T0" fmla="*/ 2147483647 w 163"/>
              <a:gd name="T1" fmla="*/ 0 h 86"/>
              <a:gd name="T2" fmla="*/ 2147483647 w 163"/>
              <a:gd name="T3" fmla="*/ 2147483647 h 86"/>
              <a:gd name="T4" fmla="*/ 0 w 163"/>
              <a:gd name="T5" fmla="*/ 2147483647 h 86"/>
              <a:gd name="T6" fmla="*/ 2147483647 w 163"/>
              <a:gd name="T7" fmla="*/ 2147483647 h 86"/>
              <a:gd name="T8" fmla="*/ 2147483647 w 163"/>
              <a:gd name="T9" fmla="*/ 2147483647 h 86"/>
              <a:gd name="T10" fmla="*/ 2147483647 w 163"/>
              <a:gd name="T11" fmla="*/ 0 h 8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3" h="86">
                <a:moveTo>
                  <a:pt x="130" y="0"/>
                </a:moveTo>
                <a:cubicBezTo>
                  <a:pt x="163" y="74"/>
                  <a:pt x="57" y="84"/>
                  <a:pt x="22" y="86"/>
                </a:cubicBezTo>
                <a:cubicBezTo>
                  <a:pt x="7" y="69"/>
                  <a:pt x="8" y="32"/>
                  <a:pt x="0" y="7"/>
                </a:cubicBezTo>
                <a:cubicBezTo>
                  <a:pt x="24" y="7"/>
                  <a:pt x="47" y="7"/>
                  <a:pt x="71" y="7"/>
                </a:cubicBezTo>
                <a:cubicBezTo>
                  <a:pt x="71" y="18"/>
                  <a:pt x="67" y="24"/>
                  <a:pt x="60" y="26"/>
                </a:cubicBezTo>
                <a:cubicBezTo>
                  <a:pt x="81" y="57"/>
                  <a:pt x="124" y="28"/>
                  <a:pt x="13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8" name="Espace réservé pour une image  27"/>
          <p:cNvSpPr>
            <a:spLocks noGrp="1"/>
          </p:cNvSpPr>
          <p:nvPr>
            <p:ph type="pic" sz="quarter" idx="11"/>
          </p:nvPr>
        </p:nvSpPr>
        <p:spPr>
          <a:xfrm>
            <a:off x="4067175" y="2798763"/>
            <a:ext cx="1368425" cy="1471612"/>
          </a:xfr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11608" y="1999988"/>
            <a:ext cx="1936055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 hasCustomPrompt="1"/>
          </p:nvPr>
        </p:nvSpPr>
        <p:spPr>
          <a:xfrm>
            <a:off x="2409453" y="3688581"/>
            <a:ext cx="1442467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15"/>
          <p:cNvSpPr>
            <a:spLocks noGrp="1"/>
          </p:cNvSpPr>
          <p:nvPr>
            <p:ph type="body" sz="quarter" idx="14" hasCustomPrompt="1"/>
          </p:nvPr>
        </p:nvSpPr>
        <p:spPr>
          <a:xfrm>
            <a:off x="5580112" y="3622229"/>
            <a:ext cx="1438512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7592" y="5104606"/>
            <a:ext cx="2224087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4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04390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Tx/>
              <a:buFont typeface="Wingdings" pitchFamily="2" charset="2"/>
              <a:buChar char="§"/>
              <a:tabLst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Tx/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50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50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9948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dre du j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 rot="-5400000">
            <a:off x="-1384195" y="3428064"/>
            <a:ext cx="5184576" cy="577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4664" tIns="42332" rIns="84664" bIns="42332">
            <a:spAutoFit/>
          </a:bodyPr>
          <a:lstStyle/>
          <a:p>
            <a:pPr algn="ctr" defTabSz="91425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b="1" dirty="0">
                <a:solidFill>
                  <a:schemeClr val="tx2"/>
                </a:solidFill>
                <a:latin typeface="+mn-lt"/>
                <a:cs typeface="+mn-cs"/>
              </a:rPr>
              <a:t>ORDRE DU JOUR</a:t>
            </a:r>
          </a:p>
        </p:txBody>
      </p:sp>
      <p:sp>
        <p:nvSpPr>
          <p:cNvPr id="5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547814" y="1196975"/>
            <a:ext cx="6769100" cy="5184775"/>
          </a:xfrm>
        </p:spPr>
        <p:txBody>
          <a:bodyPr anchor="ctr">
            <a:noAutofit/>
          </a:bodyPr>
          <a:lstStyle>
            <a:lvl1pPr>
              <a:defRPr sz="1800" b="1"/>
            </a:lvl1pPr>
            <a:lvl2pPr>
              <a:defRPr sz="18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9209690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3"/>
              </a:buClr>
              <a:buFont typeface="Wingdings" pitchFamily="2" charset="2"/>
              <a:buChar char="§"/>
              <a:tabLst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5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50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50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5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idées avec blocs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076450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171450" indent="-171450">
              <a:buClr>
                <a:srgbClr val="00B0F0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>
                <a:solidFill>
                  <a:schemeClr val="tx1"/>
                </a:solidFill>
              </a:defRPr>
            </a:lvl1pPr>
            <a:lvl2pPr marL="355600" indent="-174625">
              <a:buClr>
                <a:srgbClr val="00B0F0"/>
              </a:buClr>
              <a:buFont typeface="Wingdings" pitchFamily="2" charset="2"/>
              <a:buChar char="§"/>
              <a:defRPr sz="1050" b="0">
                <a:solidFill>
                  <a:schemeClr val="tx1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070053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171450" indent="-171450">
              <a:buClr>
                <a:schemeClr val="accent2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>
                <a:solidFill>
                  <a:schemeClr val="tx1"/>
                </a:solidFill>
              </a:defRPr>
            </a:lvl1pPr>
            <a:lvl2pPr marL="355600" indent="-174625">
              <a:buClr>
                <a:schemeClr val="accent2"/>
              </a:buClr>
              <a:buFont typeface="Wingdings" pitchFamily="2" charset="2"/>
              <a:buChar char="§"/>
              <a:defRPr sz="1050" b="0">
                <a:solidFill>
                  <a:schemeClr val="tx1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063656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171450" indent="-171450">
              <a:buClr>
                <a:schemeClr val="accent4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>
                <a:solidFill>
                  <a:schemeClr val="tx1"/>
                </a:solidFill>
              </a:defRPr>
            </a:lvl1pPr>
            <a:lvl2pPr marL="355600" indent="-174625">
              <a:buClr>
                <a:schemeClr val="accent4"/>
              </a:buClr>
              <a:buFont typeface="Wingdings" pitchFamily="2" charset="2"/>
              <a:buChar char="§"/>
              <a:defRPr sz="1050" b="0">
                <a:solidFill>
                  <a:schemeClr val="tx1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5344" y="5015114"/>
            <a:ext cx="576064" cy="576262"/>
          </a:xfrm>
          <a:prstGeom prst="teardrop">
            <a:avLst/>
          </a:prstGeom>
          <a:gradFill>
            <a:gsLst>
              <a:gs pos="0">
                <a:srgbClr val="580A6A"/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rgbClr val="770E8F"/>
              </a:gs>
            </a:gsLst>
          </a:gra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 </a:t>
            </a:r>
          </a:p>
        </p:txBody>
      </p:sp>
      <p:sp>
        <p:nvSpPr>
          <p:cNvPr id="20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3556" y="5015114"/>
            <a:ext cx="576064" cy="576262"/>
          </a:xfrm>
          <a:prstGeom prst="teardrop">
            <a:avLst/>
          </a:prstGeom>
          <a:gradFill>
            <a:gsLst>
              <a:gs pos="0">
                <a:srgbClr val="580A6A"/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rgbClr val="770E8F"/>
              </a:gs>
            </a:gsLst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>
              <a:defRPr lang="fr-FR" dirty="0" smtClean="0">
                <a:solidFill>
                  <a:schemeClr val="lt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 #</a:t>
            </a:r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34624"/>
            <a:ext cx="2376487" cy="504825"/>
          </a:xfrm>
          <a:prstGeom prst="rect">
            <a:avLst/>
          </a:prstGeom>
          <a:gradFill>
            <a:gsLst>
              <a:gs pos="0">
                <a:srgbClr val="0081B2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rgbClr val="00AEF0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 algn="ctr" rtl="0" eaLnBrk="0" fontAlgn="base" hangingPunct="0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itre</a:t>
            </a:r>
          </a:p>
        </p:txBody>
      </p:sp>
      <p:sp>
        <p:nvSpPr>
          <p:cNvPr id="22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40705"/>
            <a:ext cx="2376487" cy="504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3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6786"/>
            <a:ext cx="2376487" cy="5048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4781" y="5015114"/>
            <a:ext cx="576064" cy="576262"/>
          </a:xfrm>
          <a:prstGeom prst="teardrop">
            <a:avLst/>
          </a:prstGeom>
          <a:gradFill>
            <a:gsLst>
              <a:gs pos="0">
                <a:srgbClr val="580A6A"/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rgbClr val="770E8F"/>
              </a:gs>
            </a:gsLst>
          </a:gra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5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avec blocs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076450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070053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063656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5344" y="5015114"/>
            <a:ext cx="576064" cy="576262"/>
          </a:xfrm>
          <a:prstGeom prst="teardrop">
            <a:avLst/>
          </a:prstGeom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 </a:t>
            </a:r>
          </a:p>
        </p:txBody>
      </p:sp>
      <p:sp>
        <p:nvSpPr>
          <p:cNvPr id="20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3556" y="5015114"/>
            <a:ext cx="576064" cy="576262"/>
          </a:xfrm>
          <a:prstGeom prst="teardrop">
            <a:avLst/>
          </a:prstGeom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 #</a:t>
            </a:r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34624"/>
            <a:ext cx="2376487" cy="50482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 algn="ctr" rtl="0" eaLnBrk="0" fontAlgn="base" hangingPunct="0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itre</a:t>
            </a:r>
          </a:p>
        </p:txBody>
      </p:sp>
      <p:sp>
        <p:nvSpPr>
          <p:cNvPr id="22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40705"/>
            <a:ext cx="2376487" cy="50482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3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6786"/>
            <a:ext cx="2376487" cy="50482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4781" y="5015114"/>
            <a:ext cx="576064" cy="576262"/>
          </a:xfrm>
          <a:prstGeom prst="teardrop">
            <a:avLst/>
          </a:prstGeom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372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411760" y="1700808"/>
            <a:ext cx="6048028" cy="1204618"/>
          </a:xfrm>
          <a:solidFill>
            <a:srgbClr val="D8D7DF">
              <a:alpha val="69000"/>
            </a:srgbClr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45714" anchor="ctr">
            <a:normAutofit/>
          </a:bodyPr>
          <a:lstStyle>
            <a:lvl1pPr>
              <a:defRPr lang="fr-FR" sz="1400" dirty="0" smtClean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411760" y="3068960"/>
            <a:ext cx="6048028" cy="1204618"/>
          </a:xfrm>
          <a:solidFill>
            <a:srgbClr val="C8D7DF">
              <a:alpha val="30000"/>
            </a:srgb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72000" bIns="45714" anchor="ctr">
            <a:normAutofit/>
          </a:bodyPr>
          <a:lstStyle>
            <a:lvl1pPr>
              <a:defRPr lang="fr-FR" sz="1400" smtClean="0">
                <a:solidFill>
                  <a:srgbClr val="0070C0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411760" y="4437112"/>
            <a:ext cx="6048028" cy="1204618"/>
          </a:xfrm>
          <a:solidFill>
            <a:schemeClr val="tx2">
              <a:lumMod val="20000"/>
              <a:lumOff val="80000"/>
              <a:alpha val="5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72000" bIns="45714" anchor="ctr">
            <a:normAutofit/>
          </a:bodyPr>
          <a:lstStyle>
            <a:lvl1pPr>
              <a:defRPr lang="fr-FR" sz="14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2"/>
          <p:cNvSpPr>
            <a:spLocks noGrp="1"/>
          </p:cNvSpPr>
          <p:nvPr>
            <p:ph type="body" sz="quarter" idx="27"/>
          </p:nvPr>
        </p:nvSpPr>
        <p:spPr>
          <a:xfrm>
            <a:off x="706438" y="3068960"/>
            <a:ext cx="1584000" cy="1206000"/>
          </a:xfrm>
          <a:prstGeom prst="rect">
            <a:avLst/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2"/>
          <p:cNvSpPr>
            <a:spLocks noGrp="1"/>
          </p:cNvSpPr>
          <p:nvPr>
            <p:ph type="body" sz="quarter" idx="28"/>
          </p:nvPr>
        </p:nvSpPr>
        <p:spPr>
          <a:xfrm>
            <a:off x="706438" y="4437112"/>
            <a:ext cx="1584000" cy="1206000"/>
          </a:xfrm>
          <a:prstGeom prst="rect">
            <a:avLst/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9"/>
          </p:nvPr>
        </p:nvSpPr>
        <p:spPr>
          <a:xfrm>
            <a:off x="706438" y="1700808"/>
            <a:ext cx="1584000" cy="1206000"/>
          </a:xfrm>
          <a:prstGeom prst="rect">
            <a:avLst/>
          </a:prstGeom>
          <a:gradFill>
            <a:gsLst>
              <a:gs pos="73000">
                <a:srgbClr val="632583"/>
              </a:gs>
              <a:gs pos="0">
                <a:schemeClr val="accent1">
                  <a:lumMod val="75000"/>
                </a:schemeClr>
              </a:gs>
              <a:gs pos="100000">
                <a:srgbClr val="7030A0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72603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504607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80975" indent="-180975">
              <a:buClr>
                <a:srgbClr val="7030A0"/>
              </a:buClr>
              <a:buSzPct val="100000"/>
              <a:buFont typeface="Wingdings" panose="05000000000000000000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2556482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95262" indent="-171450">
              <a:buClr>
                <a:srgbClr val="7030A0"/>
              </a:buClr>
              <a:buSzPct val="100000"/>
              <a:buFont typeface="Wingdings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6"/>
          </p:nvPr>
        </p:nvSpPr>
        <p:spPr>
          <a:xfrm>
            <a:off x="4608357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95262" indent="-171450">
              <a:buClr>
                <a:srgbClr val="7030A0"/>
              </a:buClr>
              <a:buSzPct val="100000"/>
              <a:buFont typeface="Wingdings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660232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95262" indent="-171450">
              <a:buClr>
                <a:srgbClr val="7030A0"/>
              </a:buClr>
              <a:buSzPct val="100000"/>
              <a:buFont typeface="Wingdings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504607" y="1556792"/>
            <a:ext cx="1944000" cy="720081"/>
          </a:xfrm>
          <a:prstGeom prst="rect">
            <a:avLst/>
          </a:prstGeom>
          <a:gradFill>
            <a:gsLst>
              <a:gs pos="73000">
                <a:srgbClr val="632583"/>
              </a:gs>
              <a:gs pos="0">
                <a:schemeClr val="accent1">
                  <a:lumMod val="75000"/>
                </a:schemeClr>
              </a:gs>
              <a:gs pos="100000">
                <a:srgbClr val="7030A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2556482" y="1556792"/>
            <a:ext cx="1944000" cy="7200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2"/>
          <p:cNvSpPr>
            <a:spLocks noGrp="1"/>
          </p:cNvSpPr>
          <p:nvPr>
            <p:ph type="body" sz="quarter" idx="23"/>
          </p:nvPr>
        </p:nvSpPr>
        <p:spPr>
          <a:xfrm>
            <a:off x="4608357" y="1556792"/>
            <a:ext cx="1944000" cy="7200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6660232" y="1556792"/>
            <a:ext cx="1944000" cy="7200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67639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4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1900468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1900468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7313" algn="l"/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16"/>
          <p:cNvSpPr>
            <a:spLocks noGrp="1"/>
          </p:cNvSpPr>
          <p:nvPr>
            <p:ph type="body" sz="quarter" idx="23"/>
          </p:nvPr>
        </p:nvSpPr>
        <p:spPr>
          <a:xfrm>
            <a:off x="473075" y="4295185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6"/>
          <p:cNvSpPr>
            <a:spLocks noGrp="1"/>
          </p:cNvSpPr>
          <p:nvPr>
            <p:ph type="body" sz="quarter" idx="24"/>
          </p:nvPr>
        </p:nvSpPr>
        <p:spPr>
          <a:xfrm>
            <a:off x="4777289" y="4295185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7313" algn="l"/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25"/>
          </p:nvPr>
        </p:nvSpPr>
        <p:spPr>
          <a:xfrm>
            <a:off x="473075" y="3912861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4777289" y="3912861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006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4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1900468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5"/>
              </a:buClr>
              <a:buFont typeface="Wingdings" pitchFamily="2" charset="2"/>
              <a:buChar char="§"/>
              <a:tabLst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1900468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3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40384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40384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16"/>
          <p:cNvSpPr>
            <a:spLocks noGrp="1"/>
          </p:cNvSpPr>
          <p:nvPr>
            <p:ph type="body" sz="quarter" idx="23"/>
          </p:nvPr>
        </p:nvSpPr>
        <p:spPr>
          <a:xfrm>
            <a:off x="473075" y="4236624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2"/>
              </a:buClr>
              <a:buFont typeface="Wingdings" pitchFamily="2" charset="2"/>
              <a:buChar char="§"/>
              <a:tabLst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6"/>
          <p:cNvSpPr>
            <a:spLocks noGrp="1"/>
          </p:cNvSpPr>
          <p:nvPr>
            <p:ph type="body" sz="quarter" idx="24"/>
          </p:nvPr>
        </p:nvSpPr>
        <p:spPr>
          <a:xfrm>
            <a:off x="4777289" y="4236624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 algn="l">
              <a:buClr>
                <a:schemeClr val="accent4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25"/>
          </p:nvPr>
        </p:nvSpPr>
        <p:spPr>
          <a:xfrm>
            <a:off x="473075" y="3854300"/>
            <a:ext cx="3906442" cy="40384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4777289" y="3854300"/>
            <a:ext cx="3906442" cy="40384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819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09650" y="1781175"/>
            <a:ext cx="3492000" cy="1981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4572000" y="1781175"/>
            <a:ext cx="3492000" cy="198120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/>
        </p:nvSpPr>
        <p:spPr>
          <a:xfrm>
            <a:off x="1009650" y="3857625"/>
            <a:ext cx="3492000" cy="1981200"/>
          </a:xfrm>
          <a:prstGeom prst="rect">
            <a:avLst/>
          </a:prstGeom>
          <a:gradFill>
            <a:gsLst>
              <a:gs pos="0">
                <a:schemeClr val="accent6">
                  <a:shade val="51000"/>
                  <a:satMod val="130000"/>
                </a:schemeClr>
              </a:gs>
              <a:gs pos="12000">
                <a:schemeClr val="accent6">
                  <a:shade val="93000"/>
                  <a:satMod val="130000"/>
                </a:schemeClr>
              </a:gs>
              <a:gs pos="100000">
                <a:schemeClr val="bg1">
                  <a:lumMod val="50000"/>
                </a:schemeClr>
              </a:gs>
            </a:gsLst>
          </a:gra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/>
          <p:cNvSpPr/>
          <p:nvPr/>
        </p:nvSpPr>
        <p:spPr>
          <a:xfrm>
            <a:off x="4572000" y="3857625"/>
            <a:ext cx="3492000" cy="198120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2114550" y="200025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81100" y="197167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</a:p>
        </p:txBody>
      </p:sp>
      <p:sp>
        <p:nvSpPr>
          <p:cNvPr id="25" name="Espace réservé pour une image  14"/>
          <p:cNvSpPr>
            <a:spLocks noGrp="1"/>
          </p:cNvSpPr>
          <p:nvPr>
            <p:ph type="pic" sz="quarter" idx="16" hasCustomPrompt="1"/>
          </p:nvPr>
        </p:nvSpPr>
        <p:spPr>
          <a:xfrm>
            <a:off x="1254182" y="284589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5619750" y="200025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4686300" y="197167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</a:p>
        </p:txBody>
      </p:sp>
      <p:sp>
        <p:nvSpPr>
          <p:cNvPr id="2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759382" y="284589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9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2133600" y="403860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1200150" y="401002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</a:p>
        </p:txBody>
      </p:sp>
      <p:sp>
        <p:nvSpPr>
          <p:cNvPr id="31" name="Espace réservé pour une image  14"/>
          <p:cNvSpPr>
            <a:spLocks noGrp="1"/>
          </p:cNvSpPr>
          <p:nvPr>
            <p:ph type="pic" sz="quarter" idx="25" hasCustomPrompt="1"/>
          </p:nvPr>
        </p:nvSpPr>
        <p:spPr>
          <a:xfrm>
            <a:off x="1273232" y="488424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32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5638800" y="403860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ZoneTexte 32"/>
          <p:cNvSpPr txBox="1"/>
          <p:nvPr/>
        </p:nvSpPr>
        <p:spPr>
          <a:xfrm>
            <a:off x="4705350" y="401002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</a:p>
        </p:txBody>
      </p:sp>
      <p:sp>
        <p:nvSpPr>
          <p:cNvPr id="34" name="Espace réservé pour une image  14"/>
          <p:cNvSpPr>
            <a:spLocks noGrp="1"/>
          </p:cNvSpPr>
          <p:nvPr>
            <p:ph type="pic" sz="quarter" idx="27" hasCustomPrompt="1"/>
          </p:nvPr>
        </p:nvSpPr>
        <p:spPr>
          <a:xfrm>
            <a:off x="4778432" y="488424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32040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avec bloc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09650" y="1819275"/>
            <a:ext cx="3492000" cy="1981200"/>
          </a:xfrm>
          <a:prstGeom prst="rect">
            <a:avLst/>
          </a:prstGeom>
          <a:solidFill>
            <a:srgbClr val="C8D7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4572000" y="1819275"/>
            <a:ext cx="3492000" cy="1981200"/>
          </a:xfrm>
          <a:prstGeom prst="rect">
            <a:avLst/>
          </a:prstGeom>
          <a:solidFill>
            <a:srgbClr val="D8DBD8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/>
        </p:nvSpPr>
        <p:spPr>
          <a:xfrm>
            <a:off x="1009650" y="3857625"/>
            <a:ext cx="3492000" cy="1981200"/>
          </a:xfrm>
          <a:prstGeom prst="rect">
            <a:avLst/>
          </a:prstGeom>
          <a:solidFill>
            <a:srgbClr val="EFEEDE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/>
          <p:cNvSpPr/>
          <p:nvPr/>
        </p:nvSpPr>
        <p:spPr>
          <a:xfrm>
            <a:off x="4577824" y="3857625"/>
            <a:ext cx="3492000" cy="1981200"/>
          </a:xfrm>
          <a:prstGeom prst="rect">
            <a:avLst/>
          </a:prstGeom>
          <a:solidFill>
            <a:srgbClr val="DDD0CF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1095375" y="2038350"/>
            <a:ext cx="2076861" cy="1600200"/>
          </a:xfrm>
          <a:effectLst/>
        </p:spPr>
        <p:txBody>
          <a:bodyPr/>
          <a:lstStyle>
            <a:lvl1pPr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5820774" y="2038350"/>
            <a:ext cx="2075451" cy="1600200"/>
          </a:xfrm>
          <a:effectLst/>
        </p:spPr>
        <p:txBody>
          <a:bodyPr/>
          <a:lstStyle>
            <a:lvl1pPr algn="r"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1114425" y="4038600"/>
            <a:ext cx="2076861" cy="1600200"/>
          </a:xfrm>
          <a:effectLst/>
        </p:spPr>
        <p:txBody>
          <a:bodyPr/>
          <a:lstStyle>
            <a:lvl1pPr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5839824" y="4038600"/>
            <a:ext cx="2075451" cy="1600200"/>
          </a:xfrm>
          <a:effectLst/>
        </p:spPr>
        <p:txBody>
          <a:bodyPr/>
          <a:lstStyle>
            <a:lvl1pPr algn="r"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Arc 34"/>
          <p:cNvSpPr/>
          <p:nvPr/>
        </p:nvSpPr>
        <p:spPr>
          <a:xfrm>
            <a:off x="3279779" y="2453295"/>
            <a:ext cx="2552643" cy="2692042"/>
          </a:xfrm>
          <a:prstGeom prst="arc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6" name="Arc 35"/>
          <p:cNvSpPr/>
          <p:nvPr/>
        </p:nvSpPr>
        <p:spPr>
          <a:xfrm flipH="1">
            <a:off x="3227263" y="2459119"/>
            <a:ext cx="2552643" cy="2692042"/>
          </a:xfrm>
          <a:prstGeom prst="arc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7" name="Arc 36"/>
          <p:cNvSpPr/>
          <p:nvPr/>
        </p:nvSpPr>
        <p:spPr>
          <a:xfrm flipV="1">
            <a:off x="3285603" y="2512107"/>
            <a:ext cx="2552643" cy="2692042"/>
          </a:xfrm>
          <a:prstGeom prst="arc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8" name="Arc 37"/>
          <p:cNvSpPr/>
          <p:nvPr/>
        </p:nvSpPr>
        <p:spPr>
          <a:xfrm flipH="1" flipV="1">
            <a:off x="3227263" y="2512107"/>
            <a:ext cx="2552643" cy="2692042"/>
          </a:xfrm>
          <a:prstGeom prst="arc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9" name="Espace réservé du texte 12"/>
          <p:cNvSpPr>
            <a:spLocks noGrp="1"/>
          </p:cNvSpPr>
          <p:nvPr>
            <p:ph type="body" sz="quarter" idx="27" hasCustomPrompt="1"/>
          </p:nvPr>
        </p:nvSpPr>
        <p:spPr>
          <a:xfrm>
            <a:off x="3434850" y="2809875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0" name="Espace réservé du texte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44452" y="2809875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9" hasCustomPrompt="1"/>
          </p:nvPr>
        </p:nvSpPr>
        <p:spPr>
          <a:xfrm>
            <a:off x="3434850" y="3840656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42" name="Espace réservé du texte 12"/>
          <p:cNvSpPr>
            <a:spLocks noGrp="1"/>
          </p:cNvSpPr>
          <p:nvPr>
            <p:ph type="body" sz="quarter" idx="30" hasCustomPrompt="1"/>
          </p:nvPr>
        </p:nvSpPr>
        <p:spPr>
          <a:xfrm>
            <a:off x="4544452" y="3840656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7290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Motif Matri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e 11"/>
          <p:cNvSpPr/>
          <p:nvPr/>
        </p:nvSpPr>
        <p:spPr bwMode="auto">
          <a:xfrm rot="16200000" flipV="1">
            <a:off x="1499481" y="3232554"/>
            <a:ext cx="2685497" cy="2812264"/>
          </a:xfrm>
          <a:prstGeom prst="homePlate">
            <a:avLst>
              <a:gd name="adj" fmla="val 13885"/>
            </a:avLst>
          </a:prstGeom>
          <a:gradFill>
            <a:gsLst>
              <a:gs pos="0">
                <a:srgbClr val="C872DC"/>
              </a:gs>
              <a:gs pos="99000">
                <a:srgbClr val="DAA0E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/>
          </a:p>
        </p:txBody>
      </p:sp>
      <p:sp>
        <p:nvSpPr>
          <p:cNvPr id="17" name="Pentagone 16"/>
          <p:cNvSpPr/>
          <p:nvPr/>
        </p:nvSpPr>
        <p:spPr bwMode="auto">
          <a:xfrm flipH="1">
            <a:off x="4109155" y="3645952"/>
            <a:ext cx="2964798" cy="2366860"/>
          </a:xfrm>
          <a:prstGeom prst="homePlate">
            <a:avLst>
              <a:gd name="adj" fmla="val 13885"/>
            </a:avLst>
          </a:prstGeom>
          <a:gradFill>
            <a:gsLst>
              <a:gs pos="92000">
                <a:srgbClr val="C872DC"/>
              </a:gs>
              <a:gs pos="1000">
                <a:srgbClr val="B746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18" name="Pentagone 17"/>
          <p:cNvSpPr/>
          <p:nvPr/>
        </p:nvSpPr>
        <p:spPr bwMode="auto">
          <a:xfrm rot="5400000">
            <a:off x="4441685" y="1074385"/>
            <a:ext cx="2632942" cy="2812263"/>
          </a:xfrm>
          <a:prstGeom prst="homePlate">
            <a:avLst>
              <a:gd name="adj" fmla="val 13885"/>
            </a:avLst>
          </a:prstGeom>
          <a:gradFill>
            <a:gsLst>
              <a:gs pos="0">
                <a:srgbClr val="671E78"/>
              </a:gs>
              <a:gs pos="99000">
                <a:srgbClr val="B746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19" name="Pentagone 18"/>
          <p:cNvSpPr/>
          <p:nvPr/>
        </p:nvSpPr>
        <p:spPr>
          <a:xfrm>
            <a:off x="1436097" y="1159263"/>
            <a:ext cx="3042716" cy="2309209"/>
          </a:xfrm>
          <a:prstGeom prst="homePlate">
            <a:avLst>
              <a:gd name="adj" fmla="val 13885"/>
            </a:avLst>
          </a:prstGeom>
          <a:gradFill>
            <a:gsLst>
              <a:gs pos="100000">
                <a:srgbClr val="671E78"/>
              </a:gs>
              <a:gs pos="2000">
                <a:schemeClr val="accent1">
                  <a:lumMod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26" name="Pentagone 25"/>
          <p:cNvSpPr/>
          <p:nvPr/>
        </p:nvSpPr>
        <p:spPr>
          <a:xfrm rot="16200000" flipV="1">
            <a:off x="2769232" y="2649080"/>
            <a:ext cx="157712" cy="1550384"/>
          </a:xfrm>
          <a:prstGeom prst="homePlate">
            <a:avLst>
              <a:gd name="adj" fmla="val 99038"/>
            </a:avLst>
          </a:prstGeom>
          <a:solidFill>
            <a:srgbClr val="DAA0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27" name="ZoneTexte 26"/>
          <p:cNvSpPr txBox="1">
            <a:spLocks noChangeArrowheads="1"/>
          </p:cNvSpPr>
          <p:nvPr/>
        </p:nvSpPr>
        <p:spPr bwMode="auto">
          <a:xfrm>
            <a:off x="4400177" y="1146993"/>
            <a:ext cx="3175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 dirty="0">
                <a:solidFill>
                  <a:schemeClr val="bg1"/>
                </a:solidFill>
                <a:cs typeface="+mn-cs"/>
              </a:rPr>
              <a:t>2</a:t>
            </a:r>
          </a:p>
        </p:txBody>
      </p:sp>
      <p:sp>
        <p:nvSpPr>
          <p:cNvPr id="28" name="ZoneTexte 27"/>
          <p:cNvSpPr txBox="1">
            <a:spLocks noChangeArrowheads="1"/>
          </p:cNvSpPr>
          <p:nvPr/>
        </p:nvSpPr>
        <p:spPr bwMode="auto">
          <a:xfrm>
            <a:off x="4400971" y="3672946"/>
            <a:ext cx="3159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 dirty="0">
                <a:solidFill>
                  <a:schemeClr val="bg1"/>
                </a:solidFill>
                <a:cs typeface="+mn-cs"/>
              </a:rPr>
              <a:t>3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24"/>
          <p:cNvSpPr>
            <a:spLocks noGrp="1" noChangeArrowheads="1"/>
          </p:cNvSpPr>
          <p:nvPr>
            <p:ph idx="13"/>
          </p:nvPr>
        </p:nvSpPr>
        <p:spPr bwMode="auto">
          <a:xfrm>
            <a:off x="1662560" y="1270078"/>
            <a:ext cx="2405384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Rectangle 24"/>
          <p:cNvSpPr>
            <a:spLocks noGrp="1" noChangeArrowheads="1"/>
          </p:cNvSpPr>
          <p:nvPr>
            <p:ph idx="14"/>
          </p:nvPr>
        </p:nvSpPr>
        <p:spPr bwMode="auto">
          <a:xfrm>
            <a:off x="4665720" y="1270078"/>
            <a:ext cx="2405384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5" name="Rectangle 24"/>
          <p:cNvSpPr>
            <a:spLocks noGrp="1" noChangeArrowheads="1"/>
          </p:cNvSpPr>
          <p:nvPr>
            <p:ph idx="15"/>
          </p:nvPr>
        </p:nvSpPr>
        <p:spPr bwMode="auto">
          <a:xfrm>
            <a:off x="1662560" y="3836272"/>
            <a:ext cx="2405384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6" name="Rectangle 24"/>
          <p:cNvSpPr>
            <a:spLocks noGrp="1" noChangeArrowheads="1"/>
          </p:cNvSpPr>
          <p:nvPr>
            <p:ph idx="16"/>
          </p:nvPr>
        </p:nvSpPr>
        <p:spPr bwMode="auto">
          <a:xfrm>
            <a:off x="4665720" y="3842096"/>
            <a:ext cx="2354552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1" name="Rectangle 24"/>
          <p:cNvSpPr>
            <a:spLocks noGrp="1" noChangeArrowheads="1"/>
          </p:cNvSpPr>
          <p:nvPr>
            <p:ph idx="1"/>
          </p:nvPr>
        </p:nvSpPr>
        <p:spPr bwMode="auto">
          <a:xfrm>
            <a:off x="1573152" y="1573586"/>
            <a:ext cx="2595051" cy="18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2" name="Rectangle 24"/>
          <p:cNvSpPr>
            <a:spLocks noGrp="1" noChangeArrowheads="1"/>
          </p:cNvSpPr>
          <p:nvPr>
            <p:ph idx="17"/>
          </p:nvPr>
        </p:nvSpPr>
        <p:spPr bwMode="auto">
          <a:xfrm>
            <a:off x="4534936" y="1573586"/>
            <a:ext cx="2539018" cy="18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3" name="Rectangle 24"/>
          <p:cNvSpPr>
            <a:spLocks noGrp="1" noChangeArrowheads="1"/>
          </p:cNvSpPr>
          <p:nvPr>
            <p:ph idx="18"/>
          </p:nvPr>
        </p:nvSpPr>
        <p:spPr bwMode="auto">
          <a:xfrm>
            <a:off x="1573981" y="4093188"/>
            <a:ext cx="2565971" cy="19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4" name="Rectangle 24"/>
          <p:cNvSpPr>
            <a:spLocks noGrp="1" noChangeArrowheads="1"/>
          </p:cNvSpPr>
          <p:nvPr>
            <p:ph idx="19"/>
          </p:nvPr>
        </p:nvSpPr>
        <p:spPr bwMode="auto">
          <a:xfrm>
            <a:off x="4499992" y="4093188"/>
            <a:ext cx="2485469" cy="19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0" name="ZoneTexte 19"/>
          <p:cNvSpPr txBox="1">
            <a:spLocks noChangeArrowheads="1"/>
          </p:cNvSpPr>
          <p:nvPr/>
        </p:nvSpPr>
        <p:spPr bwMode="auto">
          <a:xfrm>
            <a:off x="1401986" y="1144336"/>
            <a:ext cx="3175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 dirty="0">
                <a:solidFill>
                  <a:schemeClr val="bg1"/>
                </a:solidFill>
                <a:cs typeface="+mn-cs"/>
              </a:rPr>
              <a:t>1</a:t>
            </a:r>
          </a:p>
        </p:txBody>
      </p:sp>
      <p:sp>
        <p:nvSpPr>
          <p:cNvPr id="25" name="ZoneTexte 24"/>
          <p:cNvSpPr txBox="1">
            <a:spLocks noChangeArrowheads="1"/>
          </p:cNvSpPr>
          <p:nvPr/>
        </p:nvSpPr>
        <p:spPr bwMode="auto">
          <a:xfrm>
            <a:off x="1402780" y="3670289"/>
            <a:ext cx="3159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>
                <a:solidFill>
                  <a:schemeClr val="bg1"/>
                </a:solidFill>
                <a:cs typeface="+mn-cs"/>
              </a:rPr>
              <a:t>4</a:t>
            </a:r>
          </a:p>
        </p:txBody>
      </p:sp>
      <p:cxnSp>
        <p:nvCxnSpPr>
          <p:cNvPr id="3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61335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7262301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5" name="Picture 5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9" t="-4578" r="269" b="9085"/>
          <a:stretch/>
        </p:blipFill>
        <p:spPr>
          <a:xfrm>
            <a:off x="650116" y="1085850"/>
            <a:ext cx="7843768" cy="4766692"/>
          </a:xfrm>
          <a:prstGeom prst="rect">
            <a:avLst/>
          </a:prstGeom>
        </p:spPr>
      </p:pic>
      <p:sp>
        <p:nvSpPr>
          <p:cNvPr id="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50116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1944008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3237900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4731525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6025417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7319309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21" hasCustomPrompt="1"/>
          </p:nvPr>
        </p:nvSpPr>
        <p:spPr>
          <a:xfrm>
            <a:off x="2556008" y="2000250"/>
            <a:ext cx="4149725" cy="895350"/>
          </a:xfrm>
        </p:spPr>
        <p:txBody>
          <a:bodyPr/>
          <a:lstStyle>
            <a:lvl1pPr algn="ctr"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ctr">
              <a:defRPr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itre</a:t>
            </a:r>
          </a:p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Sous-titre</a:t>
            </a:r>
          </a:p>
        </p:txBody>
      </p:sp>
      <p:sp>
        <p:nvSpPr>
          <p:cNvPr id="17" name="Espace réservé pour une image  14"/>
          <p:cNvSpPr>
            <a:spLocks noGrp="1"/>
          </p:cNvSpPr>
          <p:nvPr>
            <p:ph type="pic" sz="quarter" idx="16" hasCustomPrompt="1"/>
          </p:nvPr>
        </p:nvSpPr>
        <p:spPr>
          <a:xfrm>
            <a:off x="916097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18" name="Espace réservé pour une image  14"/>
          <p:cNvSpPr>
            <a:spLocks noGrp="1"/>
          </p:cNvSpPr>
          <p:nvPr>
            <p:ph type="pic" sz="quarter" idx="22" hasCustomPrompt="1"/>
          </p:nvPr>
        </p:nvSpPr>
        <p:spPr>
          <a:xfrm>
            <a:off x="2209989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19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3503881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0" name="Espace réservé pour une image  14"/>
          <p:cNvSpPr>
            <a:spLocks noGrp="1"/>
          </p:cNvSpPr>
          <p:nvPr>
            <p:ph type="pic" sz="quarter" idx="24" hasCustomPrompt="1"/>
          </p:nvPr>
        </p:nvSpPr>
        <p:spPr>
          <a:xfrm>
            <a:off x="4978748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1" name="Espace réservé pour une image  14"/>
          <p:cNvSpPr>
            <a:spLocks noGrp="1"/>
          </p:cNvSpPr>
          <p:nvPr>
            <p:ph type="pic" sz="quarter" idx="25" hasCustomPrompt="1"/>
          </p:nvPr>
        </p:nvSpPr>
        <p:spPr>
          <a:xfrm>
            <a:off x="6272640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2" name="Espace réservé pour une image  14"/>
          <p:cNvSpPr>
            <a:spLocks noGrp="1"/>
          </p:cNvSpPr>
          <p:nvPr>
            <p:ph type="pic" sz="quarter" idx="26" hasCustomPrompt="1"/>
          </p:nvPr>
        </p:nvSpPr>
        <p:spPr>
          <a:xfrm>
            <a:off x="7566532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3" name="Espace réservé du texte 15"/>
          <p:cNvSpPr>
            <a:spLocks noGrp="1"/>
          </p:cNvSpPr>
          <p:nvPr>
            <p:ph type="body" sz="quarter" idx="27" hasCustomPrompt="1"/>
          </p:nvPr>
        </p:nvSpPr>
        <p:spPr>
          <a:xfrm>
            <a:off x="650116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4" name="Espace réservé du texte 15"/>
          <p:cNvSpPr>
            <a:spLocks noGrp="1"/>
          </p:cNvSpPr>
          <p:nvPr>
            <p:ph type="body" sz="quarter" idx="28" hasCustomPrompt="1"/>
          </p:nvPr>
        </p:nvSpPr>
        <p:spPr>
          <a:xfrm>
            <a:off x="1944008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5" name="Espace réservé du texte 15"/>
          <p:cNvSpPr>
            <a:spLocks noGrp="1"/>
          </p:cNvSpPr>
          <p:nvPr>
            <p:ph type="body" sz="quarter" idx="29" hasCustomPrompt="1"/>
          </p:nvPr>
        </p:nvSpPr>
        <p:spPr>
          <a:xfrm>
            <a:off x="3237900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6" name="Espace réservé du texte 15"/>
          <p:cNvSpPr>
            <a:spLocks noGrp="1"/>
          </p:cNvSpPr>
          <p:nvPr>
            <p:ph type="body" sz="quarter" idx="30" hasCustomPrompt="1"/>
          </p:nvPr>
        </p:nvSpPr>
        <p:spPr>
          <a:xfrm>
            <a:off x="4731817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7" name="Espace réservé du texte 15"/>
          <p:cNvSpPr>
            <a:spLocks noGrp="1"/>
          </p:cNvSpPr>
          <p:nvPr>
            <p:ph type="body" sz="quarter" idx="31" hasCustomPrompt="1"/>
          </p:nvPr>
        </p:nvSpPr>
        <p:spPr>
          <a:xfrm>
            <a:off x="6025709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8" name="Espace réservé du texte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19601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2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020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et description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" name="Oval 5"/>
          <p:cNvSpPr/>
          <p:nvPr/>
        </p:nvSpPr>
        <p:spPr>
          <a:xfrm>
            <a:off x="804179" y="1465760"/>
            <a:ext cx="4376776" cy="4468744"/>
          </a:xfrm>
          <a:prstGeom prst="ellipse">
            <a:avLst/>
          </a:prstGeom>
          <a:gradFill>
            <a:gsLst>
              <a:gs pos="57000">
                <a:schemeClr val="accent1">
                  <a:lumMod val="60000"/>
                  <a:lumOff val="40000"/>
                </a:schemeClr>
              </a:gs>
              <a:gs pos="16000">
                <a:schemeClr val="accent1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50" dirty="0"/>
          </a:p>
        </p:txBody>
      </p:sp>
      <p:sp>
        <p:nvSpPr>
          <p:cNvPr id="6" name="Oval 6"/>
          <p:cNvSpPr/>
          <p:nvPr/>
        </p:nvSpPr>
        <p:spPr>
          <a:xfrm>
            <a:off x="1375242" y="2598244"/>
            <a:ext cx="3188744" cy="3188744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46000">
                <a:schemeClr val="bg1">
                  <a:lumMod val="65000"/>
                </a:schemeClr>
              </a:gs>
            </a:gsLst>
            <a:lin ang="0" scaled="0"/>
          </a:gradFill>
          <a:ln w="25400">
            <a:solidFill>
              <a:schemeClr val="bg1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50" dirty="0"/>
          </a:p>
        </p:txBody>
      </p:sp>
      <p:sp>
        <p:nvSpPr>
          <p:cNvPr id="7" name="Oval 9"/>
          <p:cNvSpPr/>
          <p:nvPr/>
        </p:nvSpPr>
        <p:spPr>
          <a:xfrm>
            <a:off x="2017384" y="3716413"/>
            <a:ext cx="1978198" cy="1978198"/>
          </a:xfrm>
          <a:prstGeom prst="ellipse">
            <a:avLst/>
          </a:prstGeom>
          <a:gradFill>
            <a:gsLst>
              <a:gs pos="16000">
                <a:srgbClr val="994EAA"/>
              </a:gs>
              <a:gs pos="45000">
                <a:schemeClr val="accent1">
                  <a:lumMod val="40000"/>
                  <a:lumOff val="60000"/>
                </a:schemeClr>
              </a:gs>
              <a:gs pos="2000">
                <a:schemeClr val="accent1"/>
              </a:gs>
            </a:gsLst>
            <a:lin ang="21000000" scaled="0"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50" dirty="0"/>
          </a:p>
        </p:txBody>
      </p:sp>
      <p:sp>
        <p:nvSpPr>
          <p:cNvPr id="12" name="Rectangle 11"/>
          <p:cNvSpPr/>
          <p:nvPr/>
        </p:nvSpPr>
        <p:spPr>
          <a:xfrm>
            <a:off x="2983043" y="3716413"/>
            <a:ext cx="5342862" cy="1118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01430" y="2598244"/>
            <a:ext cx="5333338" cy="111816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006483" y="1465761"/>
            <a:ext cx="5333338" cy="11324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8" name="Connecteur droit 17"/>
          <p:cNvCxnSpPr/>
          <p:nvPr/>
        </p:nvCxnSpPr>
        <p:spPr>
          <a:xfrm>
            <a:off x="2992567" y="2598244"/>
            <a:ext cx="5333338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2983042" y="3717502"/>
            <a:ext cx="5333338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>
            <a:off x="3983934" y="4839916"/>
            <a:ext cx="433032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space réservé du texte 23"/>
          <p:cNvSpPr>
            <a:spLocks noGrp="1"/>
          </p:cNvSpPr>
          <p:nvPr>
            <p:ph type="body" sz="quarter" idx="21" hasCustomPrompt="1"/>
          </p:nvPr>
        </p:nvSpPr>
        <p:spPr>
          <a:xfrm>
            <a:off x="1161721" y="2293444"/>
            <a:ext cx="971879" cy="609600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25" name="Espace réservé du texte 23"/>
          <p:cNvSpPr>
            <a:spLocks noGrp="1"/>
          </p:cNvSpPr>
          <p:nvPr>
            <p:ph type="body" sz="quarter" idx="22" hasCustomPrompt="1"/>
          </p:nvPr>
        </p:nvSpPr>
        <p:spPr>
          <a:xfrm>
            <a:off x="1531444" y="3303094"/>
            <a:ext cx="971879" cy="609600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26" name="Espace réservé du texte 23"/>
          <p:cNvSpPr>
            <a:spLocks noGrp="1"/>
          </p:cNvSpPr>
          <p:nvPr>
            <p:ph type="body" sz="quarter" idx="23" hasCustomPrompt="1"/>
          </p:nvPr>
        </p:nvSpPr>
        <p:spPr>
          <a:xfrm>
            <a:off x="2483674" y="4834582"/>
            <a:ext cx="971879" cy="609600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27" name="Espace réservé du texte 23"/>
          <p:cNvSpPr>
            <a:spLocks noGrp="1"/>
          </p:cNvSpPr>
          <p:nvPr>
            <p:ph type="body" sz="quarter" idx="24" hasCustomPrompt="1"/>
          </p:nvPr>
        </p:nvSpPr>
        <p:spPr>
          <a:xfrm>
            <a:off x="2768884" y="1480076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23"/>
          <p:cNvSpPr>
            <a:spLocks noGrp="1"/>
          </p:cNvSpPr>
          <p:nvPr>
            <p:ph type="body" sz="quarter" idx="25" hasCustomPrompt="1"/>
          </p:nvPr>
        </p:nvSpPr>
        <p:spPr>
          <a:xfrm>
            <a:off x="2768884" y="2598245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23"/>
          <p:cNvSpPr>
            <a:spLocks noGrp="1"/>
          </p:cNvSpPr>
          <p:nvPr>
            <p:ph type="body" sz="quarter" idx="26" hasCustomPrompt="1"/>
          </p:nvPr>
        </p:nvSpPr>
        <p:spPr>
          <a:xfrm>
            <a:off x="2768884" y="3716414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30"/>
          <p:cNvSpPr>
            <a:spLocks noGrp="1"/>
          </p:cNvSpPr>
          <p:nvPr>
            <p:ph type="body" sz="quarter" idx="27"/>
          </p:nvPr>
        </p:nvSpPr>
        <p:spPr>
          <a:xfrm>
            <a:off x="4711051" y="1480074"/>
            <a:ext cx="3630613" cy="111757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2" name="Espace réservé du texte 30"/>
          <p:cNvSpPr>
            <a:spLocks noGrp="1"/>
          </p:cNvSpPr>
          <p:nvPr>
            <p:ph type="body" sz="quarter" idx="28"/>
          </p:nvPr>
        </p:nvSpPr>
        <p:spPr>
          <a:xfrm>
            <a:off x="4711051" y="2598244"/>
            <a:ext cx="3630613" cy="1101888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3" name="Espace réservé du texte 30"/>
          <p:cNvSpPr>
            <a:spLocks noGrp="1"/>
          </p:cNvSpPr>
          <p:nvPr>
            <p:ph type="body" sz="quarter" idx="29"/>
          </p:nvPr>
        </p:nvSpPr>
        <p:spPr>
          <a:xfrm>
            <a:off x="4711051" y="3700132"/>
            <a:ext cx="3630613" cy="1101888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36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9381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et description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" name="Oval 5"/>
          <p:cNvSpPr/>
          <p:nvPr/>
        </p:nvSpPr>
        <p:spPr>
          <a:xfrm>
            <a:off x="804179" y="1459936"/>
            <a:ext cx="4376776" cy="446874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Oval 6"/>
          <p:cNvSpPr/>
          <p:nvPr/>
        </p:nvSpPr>
        <p:spPr>
          <a:xfrm>
            <a:off x="1375242" y="2592420"/>
            <a:ext cx="3188744" cy="318874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2017384" y="3710589"/>
            <a:ext cx="1978198" cy="1978198"/>
          </a:xfrm>
          <a:prstGeom prst="ellipse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992567" y="3710589"/>
            <a:ext cx="5333338" cy="1118169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01430" y="2592420"/>
            <a:ext cx="5333338" cy="11181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006483" y="1474251"/>
            <a:ext cx="5333338" cy="11181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7" name="Connecteur droit 16"/>
          <p:cNvCxnSpPr>
            <a:stCxn id="5" idx="0"/>
          </p:cNvCxnSpPr>
          <p:nvPr/>
        </p:nvCxnSpPr>
        <p:spPr>
          <a:xfrm>
            <a:off x="2992567" y="1459936"/>
            <a:ext cx="533333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/>
          <p:nvPr/>
        </p:nvCxnSpPr>
        <p:spPr>
          <a:xfrm>
            <a:off x="2992567" y="2592420"/>
            <a:ext cx="533333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2983042" y="3705854"/>
            <a:ext cx="533333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>
            <a:off x="3995582" y="4857388"/>
            <a:ext cx="433032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space réservé du texte 23"/>
          <p:cNvSpPr>
            <a:spLocks noGrp="1"/>
          </p:cNvSpPr>
          <p:nvPr>
            <p:ph type="body" sz="quarter" idx="21" hasCustomPrompt="1"/>
          </p:nvPr>
        </p:nvSpPr>
        <p:spPr>
          <a:xfrm>
            <a:off x="1161721" y="2287620"/>
            <a:ext cx="971879" cy="609600"/>
          </a:xfrm>
        </p:spPr>
        <p:txBody>
          <a:bodyPr anchor="ctr"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5" name="Espace réservé du texte 23"/>
          <p:cNvSpPr>
            <a:spLocks noGrp="1"/>
          </p:cNvSpPr>
          <p:nvPr>
            <p:ph type="body" sz="quarter" idx="22" hasCustomPrompt="1"/>
          </p:nvPr>
        </p:nvSpPr>
        <p:spPr>
          <a:xfrm>
            <a:off x="1531444" y="3297270"/>
            <a:ext cx="971879" cy="609600"/>
          </a:xfrm>
        </p:spPr>
        <p:txBody>
          <a:bodyPr anchor="ctr"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3"/>
          <p:cNvSpPr>
            <a:spLocks noGrp="1"/>
          </p:cNvSpPr>
          <p:nvPr>
            <p:ph type="body" sz="quarter" idx="23" hasCustomPrompt="1"/>
          </p:nvPr>
        </p:nvSpPr>
        <p:spPr>
          <a:xfrm>
            <a:off x="2483674" y="4828758"/>
            <a:ext cx="971879" cy="609600"/>
          </a:xfrm>
        </p:spPr>
        <p:txBody>
          <a:bodyPr anchor="ctr"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23"/>
          <p:cNvSpPr>
            <a:spLocks noGrp="1"/>
          </p:cNvSpPr>
          <p:nvPr>
            <p:ph type="body" sz="quarter" idx="24" hasCustomPrompt="1"/>
          </p:nvPr>
        </p:nvSpPr>
        <p:spPr>
          <a:xfrm>
            <a:off x="2768884" y="1474252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23"/>
          <p:cNvSpPr>
            <a:spLocks noGrp="1"/>
          </p:cNvSpPr>
          <p:nvPr>
            <p:ph type="body" sz="quarter" idx="25" hasCustomPrompt="1"/>
          </p:nvPr>
        </p:nvSpPr>
        <p:spPr>
          <a:xfrm>
            <a:off x="2768884" y="2592421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23"/>
          <p:cNvSpPr>
            <a:spLocks noGrp="1"/>
          </p:cNvSpPr>
          <p:nvPr>
            <p:ph type="body" sz="quarter" idx="26" hasCustomPrompt="1"/>
          </p:nvPr>
        </p:nvSpPr>
        <p:spPr>
          <a:xfrm>
            <a:off x="2768884" y="3710590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30"/>
          <p:cNvSpPr>
            <a:spLocks noGrp="1"/>
          </p:cNvSpPr>
          <p:nvPr>
            <p:ph type="body" sz="quarter" idx="27"/>
          </p:nvPr>
        </p:nvSpPr>
        <p:spPr>
          <a:xfrm>
            <a:off x="4711051" y="1474250"/>
            <a:ext cx="3630613" cy="111757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2" name="Espace réservé du texte 30"/>
          <p:cNvSpPr>
            <a:spLocks noGrp="1"/>
          </p:cNvSpPr>
          <p:nvPr>
            <p:ph type="body" sz="quarter" idx="28"/>
          </p:nvPr>
        </p:nvSpPr>
        <p:spPr>
          <a:xfrm>
            <a:off x="4711051" y="2592420"/>
            <a:ext cx="3630613" cy="110188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3" name="Espace réservé du texte 30"/>
          <p:cNvSpPr>
            <a:spLocks noGrp="1"/>
          </p:cNvSpPr>
          <p:nvPr>
            <p:ph type="body" sz="quarter" idx="29"/>
          </p:nvPr>
        </p:nvSpPr>
        <p:spPr>
          <a:xfrm>
            <a:off x="4711051" y="3694308"/>
            <a:ext cx="3630613" cy="11018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Rectangle 33"/>
          <p:cNvSpPr/>
          <p:nvPr/>
        </p:nvSpPr>
        <p:spPr>
          <a:xfrm>
            <a:off x="8339821" y="1455201"/>
            <a:ext cx="194579" cy="1118169"/>
          </a:xfrm>
          <a:prstGeom prst="rect">
            <a:avLst/>
          </a:prstGeom>
          <a:solidFill>
            <a:srgbClr val="A72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8339821" y="2585664"/>
            <a:ext cx="194579" cy="11181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/>
          <p:cNvSpPr/>
          <p:nvPr/>
        </p:nvSpPr>
        <p:spPr>
          <a:xfrm>
            <a:off x="8339821" y="3716127"/>
            <a:ext cx="194579" cy="1118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95451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blocs et ro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857460" y="3695700"/>
            <a:ext cx="3656911" cy="2280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4857460" y="1272209"/>
            <a:ext cx="3656911" cy="231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879185" y="3695700"/>
            <a:ext cx="3656911" cy="2280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5" name="Rectangle 14"/>
          <p:cNvSpPr/>
          <p:nvPr/>
        </p:nvSpPr>
        <p:spPr>
          <a:xfrm>
            <a:off x="879185" y="1272209"/>
            <a:ext cx="3656911" cy="231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6" name="AutoShape 3"/>
          <p:cNvSpPr>
            <a:spLocks noChangeAspect="1" noChangeArrowheads="1" noTextEdit="1"/>
          </p:cNvSpPr>
          <p:nvPr/>
        </p:nvSpPr>
        <p:spPr bwMode="auto">
          <a:xfrm>
            <a:off x="2598449" y="1341439"/>
            <a:ext cx="4475198" cy="448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 rot="5400000">
            <a:off x="4925157" y="3793713"/>
            <a:ext cx="1910053" cy="2345858"/>
          </a:xfrm>
          <a:custGeom>
            <a:avLst/>
            <a:gdLst>
              <a:gd name="T0" fmla="*/ 296 w 496"/>
              <a:gd name="T1" fmla="*/ 486 h 590"/>
              <a:gd name="T2" fmla="*/ 396 w 496"/>
              <a:gd name="T3" fmla="*/ 590 h 590"/>
              <a:gd name="T4" fmla="*/ 496 w 496"/>
              <a:gd name="T5" fmla="*/ 484 h 590"/>
              <a:gd name="T6" fmla="*/ 496 w 496"/>
              <a:gd name="T7" fmla="*/ 484 h 590"/>
              <a:gd name="T8" fmla="*/ 488 w 496"/>
              <a:gd name="T9" fmla="*/ 438 h 590"/>
              <a:gd name="T10" fmla="*/ 474 w 496"/>
              <a:gd name="T11" fmla="*/ 392 h 590"/>
              <a:gd name="T12" fmla="*/ 458 w 496"/>
              <a:gd name="T13" fmla="*/ 348 h 590"/>
              <a:gd name="T14" fmla="*/ 440 w 496"/>
              <a:gd name="T15" fmla="*/ 306 h 590"/>
              <a:gd name="T16" fmla="*/ 416 w 496"/>
              <a:gd name="T17" fmla="*/ 266 h 590"/>
              <a:gd name="T18" fmla="*/ 390 w 496"/>
              <a:gd name="T19" fmla="*/ 228 h 590"/>
              <a:gd name="T20" fmla="*/ 362 w 496"/>
              <a:gd name="T21" fmla="*/ 192 h 590"/>
              <a:gd name="T22" fmla="*/ 330 w 496"/>
              <a:gd name="T23" fmla="*/ 158 h 590"/>
              <a:gd name="T24" fmla="*/ 296 w 496"/>
              <a:gd name="T25" fmla="*/ 128 h 590"/>
              <a:gd name="T26" fmla="*/ 260 w 496"/>
              <a:gd name="T27" fmla="*/ 100 h 590"/>
              <a:gd name="T28" fmla="*/ 222 w 496"/>
              <a:gd name="T29" fmla="*/ 74 h 590"/>
              <a:gd name="T30" fmla="*/ 182 w 496"/>
              <a:gd name="T31" fmla="*/ 54 h 590"/>
              <a:gd name="T32" fmla="*/ 138 w 496"/>
              <a:gd name="T33" fmla="*/ 34 h 590"/>
              <a:gd name="T34" fmla="*/ 94 w 496"/>
              <a:gd name="T35" fmla="*/ 20 h 590"/>
              <a:gd name="T36" fmla="*/ 48 w 496"/>
              <a:gd name="T37" fmla="*/ 8 h 590"/>
              <a:gd name="T38" fmla="*/ 0 w 496"/>
              <a:gd name="T39" fmla="*/ 0 h 590"/>
              <a:gd name="T40" fmla="*/ 84 w 496"/>
              <a:gd name="T41" fmla="*/ 80 h 590"/>
              <a:gd name="T42" fmla="*/ 84 w 496"/>
              <a:gd name="T43" fmla="*/ 80 h 590"/>
              <a:gd name="T44" fmla="*/ 90 w 496"/>
              <a:gd name="T45" fmla="*/ 88 h 590"/>
              <a:gd name="T46" fmla="*/ 92 w 496"/>
              <a:gd name="T47" fmla="*/ 98 h 590"/>
              <a:gd name="T48" fmla="*/ 92 w 496"/>
              <a:gd name="T49" fmla="*/ 98 h 590"/>
              <a:gd name="T50" fmla="*/ 92 w 496"/>
              <a:gd name="T51" fmla="*/ 100 h 590"/>
              <a:gd name="T52" fmla="*/ 92 w 496"/>
              <a:gd name="T53" fmla="*/ 100 h 590"/>
              <a:gd name="T54" fmla="*/ 92 w 496"/>
              <a:gd name="T55" fmla="*/ 100 h 590"/>
              <a:gd name="T56" fmla="*/ 92 w 496"/>
              <a:gd name="T57" fmla="*/ 100 h 590"/>
              <a:gd name="T58" fmla="*/ 90 w 496"/>
              <a:gd name="T59" fmla="*/ 110 h 590"/>
              <a:gd name="T60" fmla="*/ 84 w 496"/>
              <a:gd name="T61" fmla="*/ 120 h 590"/>
              <a:gd name="T62" fmla="*/ 80 w 496"/>
              <a:gd name="T63" fmla="*/ 116 h 590"/>
              <a:gd name="T64" fmla="*/ 84 w 496"/>
              <a:gd name="T65" fmla="*/ 120 h 590"/>
              <a:gd name="T66" fmla="*/ 0 w 496"/>
              <a:gd name="T67" fmla="*/ 198 h 590"/>
              <a:gd name="T68" fmla="*/ 0 w 496"/>
              <a:gd name="T69" fmla="*/ 198 h 590"/>
              <a:gd name="T70" fmla="*/ 28 w 496"/>
              <a:gd name="T71" fmla="*/ 204 h 590"/>
              <a:gd name="T72" fmla="*/ 54 w 496"/>
              <a:gd name="T73" fmla="*/ 212 h 590"/>
              <a:gd name="T74" fmla="*/ 80 w 496"/>
              <a:gd name="T75" fmla="*/ 222 h 590"/>
              <a:gd name="T76" fmla="*/ 104 w 496"/>
              <a:gd name="T77" fmla="*/ 234 h 590"/>
              <a:gd name="T78" fmla="*/ 128 w 496"/>
              <a:gd name="T79" fmla="*/ 248 h 590"/>
              <a:gd name="T80" fmla="*/ 150 w 496"/>
              <a:gd name="T81" fmla="*/ 262 h 590"/>
              <a:gd name="T82" fmla="*/ 172 w 496"/>
              <a:gd name="T83" fmla="*/ 280 h 590"/>
              <a:gd name="T84" fmla="*/ 192 w 496"/>
              <a:gd name="T85" fmla="*/ 298 h 590"/>
              <a:gd name="T86" fmla="*/ 210 w 496"/>
              <a:gd name="T87" fmla="*/ 316 h 590"/>
              <a:gd name="T88" fmla="*/ 228 w 496"/>
              <a:gd name="T89" fmla="*/ 338 h 590"/>
              <a:gd name="T90" fmla="*/ 244 w 496"/>
              <a:gd name="T91" fmla="*/ 360 h 590"/>
              <a:gd name="T92" fmla="*/ 258 w 496"/>
              <a:gd name="T93" fmla="*/ 382 h 590"/>
              <a:gd name="T94" fmla="*/ 270 w 496"/>
              <a:gd name="T95" fmla="*/ 408 h 590"/>
              <a:gd name="T96" fmla="*/ 282 w 496"/>
              <a:gd name="T97" fmla="*/ 432 h 590"/>
              <a:gd name="T98" fmla="*/ 290 w 496"/>
              <a:gd name="T99" fmla="*/ 458 h 590"/>
              <a:gd name="T100" fmla="*/ 296 w 496"/>
              <a:gd name="T101" fmla="*/ 486 h 590"/>
              <a:gd name="T102" fmla="*/ 296 w 496"/>
              <a:gd name="T103" fmla="*/ 486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6" h="590">
                <a:moveTo>
                  <a:pt x="296" y="486"/>
                </a:moveTo>
                <a:lnTo>
                  <a:pt x="396" y="590"/>
                </a:lnTo>
                <a:lnTo>
                  <a:pt x="496" y="484"/>
                </a:lnTo>
                <a:lnTo>
                  <a:pt x="496" y="484"/>
                </a:lnTo>
                <a:lnTo>
                  <a:pt x="488" y="438"/>
                </a:lnTo>
                <a:lnTo>
                  <a:pt x="474" y="392"/>
                </a:lnTo>
                <a:lnTo>
                  <a:pt x="458" y="348"/>
                </a:lnTo>
                <a:lnTo>
                  <a:pt x="440" y="306"/>
                </a:lnTo>
                <a:lnTo>
                  <a:pt x="416" y="266"/>
                </a:lnTo>
                <a:lnTo>
                  <a:pt x="390" y="228"/>
                </a:lnTo>
                <a:lnTo>
                  <a:pt x="362" y="192"/>
                </a:lnTo>
                <a:lnTo>
                  <a:pt x="330" y="158"/>
                </a:lnTo>
                <a:lnTo>
                  <a:pt x="296" y="128"/>
                </a:lnTo>
                <a:lnTo>
                  <a:pt x="260" y="100"/>
                </a:lnTo>
                <a:lnTo>
                  <a:pt x="222" y="74"/>
                </a:lnTo>
                <a:lnTo>
                  <a:pt x="182" y="54"/>
                </a:lnTo>
                <a:lnTo>
                  <a:pt x="138" y="34"/>
                </a:lnTo>
                <a:lnTo>
                  <a:pt x="94" y="20"/>
                </a:lnTo>
                <a:lnTo>
                  <a:pt x="48" y="8"/>
                </a:lnTo>
                <a:lnTo>
                  <a:pt x="0" y="0"/>
                </a:lnTo>
                <a:lnTo>
                  <a:pt x="84" y="80"/>
                </a:lnTo>
                <a:lnTo>
                  <a:pt x="84" y="80"/>
                </a:lnTo>
                <a:lnTo>
                  <a:pt x="90" y="88"/>
                </a:lnTo>
                <a:lnTo>
                  <a:pt x="92" y="98"/>
                </a:lnTo>
                <a:lnTo>
                  <a:pt x="92" y="98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0" y="110"/>
                </a:lnTo>
                <a:lnTo>
                  <a:pt x="84" y="120"/>
                </a:lnTo>
                <a:lnTo>
                  <a:pt x="80" y="116"/>
                </a:lnTo>
                <a:lnTo>
                  <a:pt x="84" y="120"/>
                </a:lnTo>
                <a:lnTo>
                  <a:pt x="0" y="198"/>
                </a:lnTo>
                <a:lnTo>
                  <a:pt x="0" y="198"/>
                </a:lnTo>
                <a:lnTo>
                  <a:pt x="28" y="204"/>
                </a:lnTo>
                <a:lnTo>
                  <a:pt x="54" y="212"/>
                </a:lnTo>
                <a:lnTo>
                  <a:pt x="80" y="222"/>
                </a:lnTo>
                <a:lnTo>
                  <a:pt x="104" y="234"/>
                </a:lnTo>
                <a:lnTo>
                  <a:pt x="128" y="248"/>
                </a:lnTo>
                <a:lnTo>
                  <a:pt x="150" y="262"/>
                </a:lnTo>
                <a:lnTo>
                  <a:pt x="172" y="280"/>
                </a:lnTo>
                <a:lnTo>
                  <a:pt x="192" y="298"/>
                </a:lnTo>
                <a:lnTo>
                  <a:pt x="210" y="316"/>
                </a:lnTo>
                <a:lnTo>
                  <a:pt x="228" y="338"/>
                </a:lnTo>
                <a:lnTo>
                  <a:pt x="244" y="360"/>
                </a:lnTo>
                <a:lnTo>
                  <a:pt x="258" y="382"/>
                </a:lnTo>
                <a:lnTo>
                  <a:pt x="270" y="408"/>
                </a:lnTo>
                <a:lnTo>
                  <a:pt x="282" y="432"/>
                </a:lnTo>
                <a:lnTo>
                  <a:pt x="290" y="458"/>
                </a:lnTo>
                <a:lnTo>
                  <a:pt x="296" y="486"/>
                </a:lnTo>
                <a:lnTo>
                  <a:pt x="296" y="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>
            <a:off x="2449830" y="3587751"/>
            <a:ext cx="2003909" cy="2312703"/>
          </a:xfrm>
          <a:custGeom>
            <a:avLst/>
            <a:gdLst>
              <a:gd name="T0" fmla="*/ 418 w 506"/>
              <a:gd name="T1" fmla="*/ 506 h 598"/>
              <a:gd name="T2" fmla="*/ 414 w 506"/>
              <a:gd name="T3" fmla="*/ 510 h 598"/>
              <a:gd name="T4" fmla="*/ 414 w 506"/>
              <a:gd name="T5" fmla="*/ 510 h 598"/>
              <a:gd name="T6" fmla="*/ 408 w 506"/>
              <a:gd name="T7" fmla="*/ 502 h 598"/>
              <a:gd name="T8" fmla="*/ 406 w 506"/>
              <a:gd name="T9" fmla="*/ 492 h 598"/>
              <a:gd name="T10" fmla="*/ 406 w 506"/>
              <a:gd name="T11" fmla="*/ 492 h 598"/>
              <a:gd name="T12" fmla="*/ 406 w 506"/>
              <a:gd name="T13" fmla="*/ 490 h 598"/>
              <a:gd name="T14" fmla="*/ 406 w 506"/>
              <a:gd name="T15" fmla="*/ 490 h 598"/>
              <a:gd name="T16" fmla="*/ 406 w 506"/>
              <a:gd name="T17" fmla="*/ 490 h 598"/>
              <a:gd name="T18" fmla="*/ 406 w 506"/>
              <a:gd name="T19" fmla="*/ 490 h 598"/>
              <a:gd name="T20" fmla="*/ 408 w 506"/>
              <a:gd name="T21" fmla="*/ 480 h 598"/>
              <a:gd name="T22" fmla="*/ 414 w 506"/>
              <a:gd name="T23" fmla="*/ 470 h 598"/>
              <a:gd name="T24" fmla="*/ 492 w 506"/>
              <a:gd name="T25" fmla="*/ 398 h 598"/>
              <a:gd name="T26" fmla="*/ 492 w 506"/>
              <a:gd name="T27" fmla="*/ 398 h 598"/>
              <a:gd name="T28" fmla="*/ 464 w 506"/>
              <a:gd name="T29" fmla="*/ 392 h 598"/>
              <a:gd name="T30" fmla="*/ 438 w 506"/>
              <a:gd name="T31" fmla="*/ 382 h 598"/>
              <a:gd name="T32" fmla="*/ 412 w 506"/>
              <a:gd name="T33" fmla="*/ 372 h 598"/>
              <a:gd name="T34" fmla="*/ 386 w 506"/>
              <a:gd name="T35" fmla="*/ 360 h 598"/>
              <a:gd name="T36" fmla="*/ 362 w 506"/>
              <a:gd name="T37" fmla="*/ 346 h 598"/>
              <a:gd name="T38" fmla="*/ 340 w 506"/>
              <a:gd name="T39" fmla="*/ 330 h 598"/>
              <a:gd name="T40" fmla="*/ 318 w 506"/>
              <a:gd name="T41" fmla="*/ 312 h 598"/>
              <a:gd name="T42" fmla="*/ 298 w 506"/>
              <a:gd name="T43" fmla="*/ 294 h 598"/>
              <a:gd name="T44" fmla="*/ 280 w 506"/>
              <a:gd name="T45" fmla="*/ 274 h 598"/>
              <a:gd name="T46" fmla="*/ 264 w 506"/>
              <a:gd name="T47" fmla="*/ 252 h 598"/>
              <a:gd name="T48" fmla="*/ 248 w 506"/>
              <a:gd name="T49" fmla="*/ 230 h 598"/>
              <a:gd name="T50" fmla="*/ 234 w 506"/>
              <a:gd name="T51" fmla="*/ 206 h 598"/>
              <a:gd name="T52" fmla="*/ 222 w 506"/>
              <a:gd name="T53" fmla="*/ 180 h 598"/>
              <a:gd name="T54" fmla="*/ 212 w 506"/>
              <a:gd name="T55" fmla="*/ 154 h 598"/>
              <a:gd name="T56" fmla="*/ 204 w 506"/>
              <a:gd name="T57" fmla="*/ 128 h 598"/>
              <a:gd name="T58" fmla="*/ 198 w 506"/>
              <a:gd name="T59" fmla="*/ 100 h 598"/>
              <a:gd name="T60" fmla="*/ 102 w 506"/>
              <a:gd name="T61" fmla="*/ 0 h 598"/>
              <a:gd name="T62" fmla="*/ 0 w 506"/>
              <a:gd name="T63" fmla="*/ 108 h 598"/>
              <a:gd name="T64" fmla="*/ 0 w 506"/>
              <a:gd name="T65" fmla="*/ 108 h 598"/>
              <a:gd name="T66" fmla="*/ 8 w 506"/>
              <a:gd name="T67" fmla="*/ 156 h 598"/>
              <a:gd name="T68" fmla="*/ 20 w 506"/>
              <a:gd name="T69" fmla="*/ 202 h 598"/>
              <a:gd name="T70" fmla="*/ 38 w 506"/>
              <a:gd name="T71" fmla="*/ 248 h 598"/>
              <a:gd name="T72" fmla="*/ 56 w 506"/>
              <a:gd name="T73" fmla="*/ 290 h 598"/>
              <a:gd name="T74" fmla="*/ 80 w 506"/>
              <a:gd name="T75" fmla="*/ 332 h 598"/>
              <a:gd name="T76" fmla="*/ 106 w 506"/>
              <a:gd name="T77" fmla="*/ 370 h 598"/>
              <a:gd name="T78" fmla="*/ 136 w 506"/>
              <a:gd name="T79" fmla="*/ 406 h 598"/>
              <a:gd name="T80" fmla="*/ 168 w 506"/>
              <a:gd name="T81" fmla="*/ 440 h 598"/>
              <a:gd name="T82" fmla="*/ 202 w 506"/>
              <a:gd name="T83" fmla="*/ 472 h 598"/>
              <a:gd name="T84" fmla="*/ 240 w 506"/>
              <a:gd name="T85" fmla="*/ 500 h 598"/>
              <a:gd name="T86" fmla="*/ 280 w 506"/>
              <a:gd name="T87" fmla="*/ 524 h 598"/>
              <a:gd name="T88" fmla="*/ 322 w 506"/>
              <a:gd name="T89" fmla="*/ 546 h 598"/>
              <a:gd name="T90" fmla="*/ 364 w 506"/>
              <a:gd name="T91" fmla="*/ 564 h 598"/>
              <a:gd name="T92" fmla="*/ 410 w 506"/>
              <a:gd name="T93" fmla="*/ 580 h 598"/>
              <a:gd name="T94" fmla="*/ 458 w 506"/>
              <a:gd name="T95" fmla="*/ 590 h 598"/>
              <a:gd name="T96" fmla="*/ 506 w 506"/>
              <a:gd name="T97" fmla="*/ 598 h 598"/>
              <a:gd name="T98" fmla="*/ 414 w 506"/>
              <a:gd name="T99" fmla="*/ 510 h 598"/>
              <a:gd name="T100" fmla="*/ 418 w 506"/>
              <a:gd name="T101" fmla="*/ 506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6" h="598">
                <a:moveTo>
                  <a:pt x="418" y="506"/>
                </a:moveTo>
                <a:lnTo>
                  <a:pt x="414" y="510"/>
                </a:lnTo>
                <a:lnTo>
                  <a:pt x="414" y="510"/>
                </a:lnTo>
                <a:lnTo>
                  <a:pt x="408" y="502"/>
                </a:lnTo>
                <a:lnTo>
                  <a:pt x="406" y="492"/>
                </a:lnTo>
                <a:lnTo>
                  <a:pt x="406" y="492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8" y="480"/>
                </a:lnTo>
                <a:lnTo>
                  <a:pt x="414" y="470"/>
                </a:lnTo>
                <a:lnTo>
                  <a:pt x="492" y="398"/>
                </a:lnTo>
                <a:lnTo>
                  <a:pt x="492" y="398"/>
                </a:lnTo>
                <a:lnTo>
                  <a:pt x="464" y="392"/>
                </a:lnTo>
                <a:lnTo>
                  <a:pt x="438" y="382"/>
                </a:lnTo>
                <a:lnTo>
                  <a:pt x="412" y="372"/>
                </a:lnTo>
                <a:lnTo>
                  <a:pt x="386" y="360"/>
                </a:lnTo>
                <a:lnTo>
                  <a:pt x="362" y="346"/>
                </a:lnTo>
                <a:lnTo>
                  <a:pt x="340" y="330"/>
                </a:lnTo>
                <a:lnTo>
                  <a:pt x="318" y="312"/>
                </a:lnTo>
                <a:lnTo>
                  <a:pt x="298" y="294"/>
                </a:lnTo>
                <a:lnTo>
                  <a:pt x="280" y="274"/>
                </a:lnTo>
                <a:lnTo>
                  <a:pt x="264" y="252"/>
                </a:lnTo>
                <a:lnTo>
                  <a:pt x="248" y="230"/>
                </a:lnTo>
                <a:lnTo>
                  <a:pt x="234" y="206"/>
                </a:lnTo>
                <a:lnTo>
                  <a:pt x="222" y="180"/>
                </a:lnTo>
                <a:lnTo>
                  <a:pt x="212" y="154"/>
                </a:lnTo>
                <a:lnTo>
                  <a:pt x="204" y="128"/>
                </a:lnTo>
                <a:lnTo>
                  <a:pt x="198" y="100"/>
                </a:lnTo>
                <a:lnTo>
                  <a:pt x="102" y="0"/>
                </a:lnTo>
                <a:lnTo>
                  <a:pt x="0" y="108"/>
                </a:lnTo>
                <a:lnTo>
                  <a:pt x="0" y="108"/>
                </a:lnTo>
                <a:lnTo>
                  <a:pt x="8" y="156"/>
                </a:lnTo>
                <a:lnTo>
                  <a:pt x="20" y="202"/>
                </a:lnTo>
                <a:lnTo>
                  <a:pt x="38" y="248"/>
                </a:lnTo>
                <a:lnTo>
                  <a:pt x="56" y="290"/>
                </a:lnTo>
                <a:lnTo>
                  <a:pt x="80" y="332"/>
                </a:lnTo>
                <a:lnTo>
                  <a:pt x="106" y="370"/>
                </a:lnTo>
                <a:lnTo>
                  <a:pt x="136" y="406"/>
                </a:lnTo>
                <a:lnTo>
                  <a:pt x="168" y="440"/>
                </a:lnTo>
                <a:lnTo>
                  <a:pt x="202" y="472"/>
                </a:lnTo>
                <a:lnTo>
                  <a:pt x="240" y="500"/>
                </a:lnTo>
                <a:lnTo>
                  <a:pt x="280" y="524"/>
                </a:lnTo>
                <a:lnTo>
                  <a:pt x="322" y="546"/>
                </a:lnTo>
                <a:lnTo>
                  <a:pt x="364" y="564"/>
                </a:lnTo>
                <a:lnTo>
                  <a:pt x="410" y="580"/>
                </a:lnTo>
                <a:lnTo>
                  <a:pt x="458" y="590"/>
                </a:lnTo>
                <a:lnTo>
                  <a:pt x="506" y="598"/>
                </a:lnTo>
                <a:lnTo>
                  <a:pt x="414" y="510"/>
                </a:lnTo>
                <a:lnTo>
                  <a:pt x="418" y="50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9" name="Freeform 7"/>
          <p:cNvSpPr>
            <a:spLocks/>
          </p:cNvSpPr>
          <p:nvPr/>
        </p:nvSpPr>
        <p:spPr bwMode="auto">
          <a:xfrm rot="5400000">
            <a:off x="2515713" y="1116638"/>
            <a:ext cx="1950756" cy="2375722"/>
          </a:xfrm>
          <a:custGeom>
            <a:avLst/>
            <a:gdLst>
              <a:gd name="T0" fmla="*/ 418 w 506"/>
              <a:gd name="T1" fmla="*/ 506 h 598"/>
              <a:gd name="T2" fmla="*/ 414 w 506"/>
              <a:gd name="T3" fmla="*/ 510 h 598"/>
              <a:gd name="T4" fmla="*/ 414 w 506"/>
              <a:gd name="T5" fmla="*/ 510 h 598"/>
              <a:gd name="T6" fmla="*/ 408 w 506"/>
              <a:gd name="T7" fmla="*/ 502 h 598"/>
              <a:gd name="T8" fmla="*/ 406 w 506"/>
              <a:gd name="T9" fmla="*/ 492 h 598"/>
              <a:gd name="T10" fmla="*/ 406 w 506"/>
              <a:gd name="T11" fmla="*/ 492 h 598"/>
              <a:gd name="T12" fmla="*/ 406 w 506"/>
              <a:gd name="T13" fmla="*/ 490 h 598"/>
              <a:gd name="T14" fmla="*/ 406 w 506"/>
              <a:gd name="T15" fmla="*/ 490 h 598"/>
              <a:gd name="T16" fmla="*/ 406 w 506"/>
              <a:gd name="T17" fmla="*/ 490 h 598"/>
              <a:gd name="T18" fmla="*/ 406 w 506"/>
              <a:gd name="T19" fmla="*/ 490 h 598"/>
              <a:gd name="T20" fmla="*/ 408 w 506"/>
              <a:gd name="T21" fmla="*/ 480 h 598"/>
              <a:gd name="T22" fmla="*/ 414 w 506"/>
              <a:gd name="T23" fmla="*/ 470 h 598"/>
              <a:gd name="T24" fmla="*/ 492 w 506"/>
              <a:gd name="T25" fmla="*/ 398 h 598"/>
              <a:gd name="T26" fmla="*/ 492 w 506"/>
              <a:gd name="T27" fmla="*/ 398 h 598"/>
              <a:gd name="T28" fmla="*/ 464 w 506"/>
              <a:gd name="T29" fmla="*/ 392 h 598"/>
              <a:gd name="T30" fmla="*/ 438 w 506"/>
              <a:gd name="T31" fmla="*/ 382 h 598"/>
              <a:gd name="T32" fmla="*/ 412 w 506"/>
              <a:gd name="T33" fmla="*/ 372 h 598"/>
              <a:gd name="T34" fmla="*/ 386 w 506"/>
              <a:gd name="T35" fmla="*/ 360 h 598"/>
              <a:gd name="T36" fmla="*/ 362 w 506"/>
              <a:gd name="T37" fmla="*/ 346 h 598"/>
              <a:gd name="T38" fmla="*/ 340 w 506"/>
              <a:gd name="T39" fmla="*/ 330 h 598"/>
              <a:gd name="T40" fmla="*/ 318 w 506"/>
              <a:gd name="T41" fmla="*/ 312 h 598"/>
              <a:gd name="T42" fmla="*/ 298 w 506"/>
              <a:gd name="T43" fmla="*/ 294 h 598"/>
              <a:gd name="T44" fmla="*/ 280 w 506"/>
              <a:gd name="T45" fmla="*/ 274 h 598"/>
              <a:gd name="T46" fmla="*/ 264 w 506"/>
              <a:gd name="T47" fmla="*/ 252 h 598"/>
              <a:gd name="T48" fmla="*/ 248 w 506"/>
              <a:gd name="T49" fmla="*/ 230 h 598"/>
              <a:gd name="T50" fmla="*/ 234 w 506"/>
              <a:gd name="T51" fmla="*/ 206 h 598"/>
              <a:gd name="T52" fmla="*/ 222 w 506"/>
              <a:gd name="T53" fmla="*/ 180 h 598"/>
              <a:gd name="T54" fmla="*/ 212 w 506"/>
              <a:gd name="T55" fmla="*/ 154 h 598"/>
              <a:gd name="T56" fmla="*/ 204 w 506"/>
              <a:gd name="T57" fmla="*/ 128 h 598"/>
              <a:gd name="T58" fmla="*/ 198 w 506"/>
              <a:gd name="T59" fmla="*/ 100 h 598"/>
              <a:gd name="T60" fmla="*/ 102 w 506"/>
              <a:gd name="T61" fmla="*/ 0 h 598"/>
              <a:gd name="T62" fmla="*/ 0 w 506"/>
              <a:gd name="T63" fmla="*/ 108 h 598"/>
              <a:gd name="T64" fmla="*/ 0 w 506"/>
              <a:gd name="T65" fmla="*/ 108 h 598"/>
              <a:gd name="T66" fmla="*/ 8 w 506"/>
              <a:gd name="T67" fmla="*/ 156 h 598"/>
              <a:gd name="T68" fmla="*/ 20 w 506"/>
              <a:gd name="T69" fmla="*/ 202 h 598"/>
              <a:gd name="T70" fmla="*/ 38 w 506"/>
              <a:gd name="T71" fmla="*/ 248 h 598"/>
              <a:gd name="T72" fmla="*/ 56 w 506"/>
              <a:gd name="T73" fmla="*/ 290 h 598"/>
              <a:gd name="T74" fmla="*/ 80 w 506"/>
              <a:gd name="T75" fmla="*/ 332 h 598"/>
              <a:gd name="T76" fmla="*/ 106 w 506"/>
              <a:gd name="T77" fmla="*/ 370 h 598"/>
              <a:gd name="T78" fmla="*/ 136 w 506"/>
              <a:gd name="T79" fmla="*/ 406 h 598"/>
              <a:gd name="T80" fmla="*/ 168 w 506"/>
              <a:gd name="T81" fmla="*/ 440 h 598"/>
              <a:gd name="T82" fmla="*/ 202 w 506"/>
              <a:gd name="T83" fmla="*/ 472 h 598"/>
              <a:gd name="T84" fmla="*/ 240 w 506"/>
              <a:gd name="T85" fmla="*/ 500 h 598"/>
              <a:gd name="T86" fmla="*/ 280 w 506"/>
              <a:gd name="T87" fmla="*/ 524 h 598"/>
              <a:gd name="T88" fmla="*/ 322 w 506"/>
              <a:gd name="T89" fmla="*/ 546 h 598"/>
              <a:gd name="T90" fmla="*/ 364 w 506"/>
              <a:gd name="T91" fmla="*/ 564 h 598"/>
              <a:gd name="T92" fmla="*/ 410 w 506"/>
              <a:gd name="T93" fmla="*/ 580 h 598"/>
              <a:gd name="T94" fmla="*/ 458 w 506"/>
              <a:gd name="T95" fmla="*/ 590 h 598"/>
              <a:gd name="T96" fmla="*/ 506 w 506"/>
              <a:gd name="T97" fmla="*/ 598 h 598"/>
              <a:gd name="T98" fmla="*/ 414 w 506"/>
              <a:gd name="T99" fmla="*/ 510 h 598"/>
              <a:gd name="T100" fmla="*/ 418 w 506"/>
              <a:gd name="T101" fmla="*/ 506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6" h="598">
                <a:moveTo>
                  <a:pt x="418" y="506"/>
                </a:moveTo>
                <a:lnTo>
                  <a:pt x="414" y="510"/>
                </a:lnTo>
                <a:lnTo>
                  <a:pt x="414" y="510"/>
                </a:lnTo>
                <a:lnTo>
                  <a:pt x="408" y="502"/>
                </a:lnTo>
                <a:lnTo>
                  <a:pt x="406" y="492"/>
                </a:lnTo>
                <a:lnTo>
                  <a:pt x="406" y="492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8" y="480"/>
                </a:lnTo>
                <a:lnTo>
                  <a:pt x="414" y="470"/>
                </a:lnTo>
                <a:lnTo>
                  <a:pt x="492" y="398"/>
                </a:lnTo>
                <a:lnTo>
                  <a:pt x="492" y="398"/>
                </a:lnTo>
                <a:lnTo>
                  <a:pt x="464" y="392"/>
                </a:lnTo>
                <a:lnTo>
                  <a:pt x="438" y="382"/>
                </a:lnTo>
                <a:lnTo>
                  <a:pt x="412" y="372"/>
                </a:lnTo>
                <a:lnTo>
                  <a:pt x="386" y="360"/>
                </a:lnTo>
                <a:lnTo>
                  <a:pt x="362" y="346"/>
                </a:lnTo>
                <a:lnTo>
                  <a:pt x="340" y="330"/>
                </a:lnTo>
                <a:lnTo>
                  <a:pt x="318" y="312"/>
                </a:lnTo>
                <a:lnTo>
                  <a:pt x="298" y="294"/>
                </a:lnTo>
                <a:lnTo>
                  <a:pt x="280" y="274"/>
                </a:lnTo>
                <a:lnTo>
                  <a:pt x="264" y="252"/>
                </a:lnTo>
                <a:lnTo>
                  <a:pt x="248" y="230"/>
                </a:lnTo>
                <a:lnTo>
                  <a:pt x="234" y="206"/>
                </a:lnTo>
                <a:lnTo>
                  <a:pt x="222" y="180"/>
                </a:lnTo>
                <a:lnTo>
                  <a:pt x="212" y="154"/>
                </a:lnTo>
                <a:lnTo>
                  <a:pt x="204" y="128"/>
                </a:lnTo>
                <a:lnTo>
                  <a:pt x="198" y="100"/>
                </a:lnTo>
                <a:lnTo>
                  <a:pt x="102" y="0"/>
                </a:lnTo>
                <a:lnTo>
                  <a:pt x="0" y="108"/>
                </a:lnTo>
                <a:lnTo>
                  <a:pt x="0" y="108"/>
                </a:lnTo>
                <a:lnTo>
                  <a:pt x="8" y="156"/>
                </a:lnTo>
                <a:lnTo>
                  <a:pt x="20" y="202"/>
                </a:lnTo>
                <a:lnTo>
                  <a:pt x="38" y="248"/>
                </a:lnTo>
                <a:lnTo>
                  <a:pt x="56" y="290"/>
                </a:lnTo>
                <a:lnTo>
                  <a:pt x="80" y="332"/>
                </a:lnTo>
                <a:lnTo>
                  <a:pt x="106" y="370"/>
                </a:lnTo>
                <a:lnTo>
                  <a:pt x="136" y="406"/>
                </a:lnTo>
                <a:lnTo>
                  <a:pt x="168" y="440"/>
                </a:lnTo>
                <a:lnTo>
                  <a:pt x="202" y="472"/>
                </a:lnTo>
                <a:lnTo>
                  <a:pt x="240" y="500"/>
                </a:lnTo>
                <a:lnTo>
                  <a:pt x="280" y="524"/>
                </a:lnTo>
                <a:lnTo>
                  <a:pt x="322" y="546"/>
                </a:lnTo>
                <a:lnTo>
                  <a:pt x="364" y="564"/>
                </a:lnTo>
                <a:lnTo>
                  <a:pt x="410" y="580"/>
                </a:lnTo>
                <a:lnTo>
                  <a:pt x="458" y="590"/>
                </a:lnTo>
                <a:lnTo>
                  <a:pt x="506" y="598"/>
                </a:lnTo>
                <a:lnTo>
                  <a:pt x="414" y="510"/>
                </a:lnTo>
                <a:lnTo>
                  <a:pt x="418" y="5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20" name="Freeform 6"/>
          <p:cNvSpPr>
            <a:spLocks/>
          </p:cNvSpPr>
          <p:nvPr/>
        </p:nvSpPr>
        <p:spPr bwMode="auto">
          <a:xfrm>
            <a:off x="5104131" y="1341439"/>
            <a:ext cx="1962099" cy="2282176"/>
          </a:xfrm>
          <a:custGeom>
            <a:avLst/>
            <a:gdLst>
              <a:gd name="T0" fmla="*/ 296 w 496"/>
              <a:gd name="T1" fmla="*/ 486 h 590"/>
              <a:gd name="T2" fmla="*/ 396 w 496"/>
              <a:gd name="T3" fmla="*/ 590 h 590"/>
              <a:gd name="T4" fmla="*/ 496 w 496"/>
              <a:gd name="T5" fmla="*/ 484 h 590"/>
              <a:gd name="T6" fmla="*/ 496 w 496"/>
              <a:gd name="T7" fmla="*/ 484 h 590"/>
              <a:gd name="T8" fmla="*/ 488 w 496"/>
              <a:gd name="T9" fmla="*/ 438 h 590"/>
              <a:gd name="T10" fmla="*/ 474 w 496"/>
              <a:gd name="T11" fmla="*/ 392 h 590"/>
              <a:gd name="T12" fmla="*/ 458 w 496"/>
              <a:gd name="T13" fmla="*/ 348 h 590"/>
              <a:gd name="T14" fmla="*/ 440 w 496"/>
              <a:gd name="T15" fmla="*/ 306 h 590"/>
              <a:gd name="T16" fmla="*/ 416 w 496"/>
              <a:gd name="T17" fmla="*/ 266 h 590"/>
              <a:gd name="T18" fmla="*/ 390 w 496"/>
              <a:gd name="T19" fmla="*/ 228 h 590"/>
              <a:gd name="T20" fmla="*/ 362 w 496"/>
              <a:gd name="T21" fmla="*/ 192 h 590"/>
              <a:gd name="T22" fmla="*/ 330 w 496"/>
              <a:gd name="T23" fmla="*/ 158 h 590"/>
              <a:gd name="T24" fmla="*/ 296 w 496"/>
              <a:gd name="T25" fmla="*/ 128 h 590"/>
              <a:gd name="T26" fmla="*/ 260 w 496"/>
              <a:gd name="T27" fmla="*/ 100 h 590"/>
              <a:gd name="T28" fmla="*/ 222 w 496"/>
              <a:gd name="T29" fmla="*/ 74 h 590"/>
              <a:gd name="T30" fmla="*/ 182 w 496"/>
              <a:gd name="T31" fmla="*/ 54 h 590"/>
              <a:gd name="T32" fmla="*/ 138 w 496"/>
              <a:gd name="T33" fmla="*/ 34 h 590"/>
              <a:gd name="T34" fmla="*/ 94 w 496"/>
              <a:gd name="T35" fmla="*/ 20 h 590"/>
              <a:gd name="T36" fmla="*/ 48 w 496"/>
              <a:gd name="T37" fmla="*/ 8 h 590"/>
              <a:gd name="T38" fmla="*/ 0 w 496"/>
              <a:gd name="T39" fmla="*/ 0 h 590"/>
              <a:gd name="T40" fmla="*/ 84 w 496"/>
              <a:gd name="T41" fmla="*/ 80 h 590"/>
              <a:gd name="T42" fmla="*/ 84 w 496"/>
              <a:gd name="T43" fmla="*/ 80 h 590"/>
              <a:gd name="T44" fmla="*/ 90 w 496"/>
              <a:gd name="T45" fmla="*/ 88 h 590"/>
              <a:gd name="T46" fmla="*/ 92 w 496"/>
              <a:gd name="T47" fmla="*/ 98 h 590"/>
              <a:gd name="T48" fmla="*/ 92 w 496"/>
              <a:gd name="T49" fmla="*/ 98 h 590"/>
              <a:gd name="T50" fmla="*/ 92 w 496"/>
              <a:gd name="T51" fmla="*/ 100 h 590"/>
              <a:gd name="T52" fmla="*/ 92 w 496"/>
              <a:gd name="T53" fmla="*/ 100 h 590"/>
              <a:gd name="T54" fmla="*/ 92 w 496"/>
              <a:gd name="T55" fmla="*/ 100 h 590"/>
              <a:gd name="T56" fmla="*/ 92 w 496"/>
              <a:gd name="T57" fmla="*/ 100 h 590"/>
              <a:gd name="T58" fmla="*/ 90 w 496"/>
              <a:gd name="T59" fmla="*/ 110 h 590"/>
              <a:gd name="T60" fmla="*/ 84 w 496"/>
              <a:gd name="T61" fmla="*/ 120 h 590"/>
              <a:gd name="T62" fmla="*/ 80 w 496"/>
              <a:gd name="T63" fmla="*/ 116 h 590"/>
              <a:gd name="T64" fmla="*/ 84 w 496"/>
              <a:gd name="T65" fmla="*/ 120 h 590"/>
              <a:gd name="T66" fmla="*/ 0 w 496"/>
              <a:gd name="T67" fmla="*/ 198 h 590"/>
              <a:gd name="T68" fmla="*/ 0 w 496"/>
              <a:gd name="T69" fmla="*/ 198 h 590"/>
              <a:gd name="T70" fmla="*/ 28 w 496"/>
              <a:gd name="T71" fmla="*/ 204 h 590"/>
              <a:gd name="T72" fmla="*/ 54 w 496"/>
              <a:gd name="T73" fmla="*/ 212 h 590"/>
              <a:gd name="T74" fmla="*/ 80 w 496"/>
              <a:gd name="T75" fmla="*/ 222 h 590"/>
              <a:gd name="T76" fmla="*/ 104 w 496"/>
              <a:gd name="T77" fmla="*/ 234 h 590"/>
              <a:gd name="T78" fmla="*/ 128 w 496"/>
              <a:gd name="T79" fmla="*/ 248 h 590"/>
              <a:gd name="T80" fmla="*/ 150 w 496"/>
              <a:gd name="T81" fmla="*/ 262 h 590"/>
              <a:gd name="T82" fmla="*/ 172 w 496"/>
              <a:gd name="T83" fmla="*/ 280 h 590"/>
              <a:gd name="T84" fmla="*/ 192 w 496"/>
              <a:gd name="T85" fmla="*/ 298 h 590"/>
              <a:gd name="T86" fmla="*/ 210 w 496"/>
              <a:gd name="T87" fmla="*/ 316 h 590"/>
              <a:gd name="T88" fmla="*/ 228 w 496"/>
              <a:gd name="T89" fmla="*/ 338 h 590"/>
              <a:gd name="T90" fmla="*/ 244 w 496"/>
              <a:gd name="T91" fmla="*/ 360 h 590"/>
              <a:gd name="T92" fmla="*/ 258 w 496"/>
              <a:gd name="T93" fmla="*/ 382 h 590"/>
              <a:gd name="T94" fmla="*/ 270 w 496"/>
              <a:gd name="T95" fmla="*/ 408 h 590"/>
              <a:gd name="T96" fmla="*/ 282 w 496"/>
              <a:gd name="T97" fmla="*/ 432 h 590"/>
              <a:gd name="T98" fmla="*/ 290 w 496"/>
              <a:gd name="T99" fmla="*/ 458 h 590"/>
              <a:gd name="T100" fmla="*/ 296 w 496"/>
              <a:gd name="T101" fmla="*/ 486 h 590"/>
              <a:gd name="T102" fmla="*/ 296 w 496"/>
              <a:gd name="T103" fmla="*/ 486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6" h="590">
                <a:moveTo>
                  <a:pt x="296" y="486"/>
                </a:moveTo>
                <a:lnTo>
                  <a:pt x="396" y="590"/>
                </a:lnTo>
                <a:lnTo>
                  <a:pt x="496" y="484"/>
                </a:lnTo>
                <a:lnTo>
                  <a:pt x="496" y="484"/>
                </a:lnTo>
                <a:lnTo>
                  <a:pt x="488" y="438"/>
                </a:lnTo>
                <a:lnTo>
                  <a:pt x="474" y="392"/>
                </a:lnTo>
                <a:lnTo>
                  <a:pt x="458" y="348"/>
                </a:lnTo>
                <a:lnTo>
                  <a:pt x="440" y="306"/>
                </a:lnTo>
                <a:lnTo>
                  <a:pt x="416" y="266"/>
                </a:lnTo>
                <a:lnTo>
                  <a:pt x="390" y="228"/>
                </a:lnTo>
                <a:lnTo>
                  <a:pt x="362" y="192"/>
                </a:lnTo>
                <a:lnTo>
                  <a:pt x="330" y="158"/>
                </a:lnTo>
                <a:lnTo>
                  <a:pt x="296" y="128"/>
                </a:lnTo>
                <a:lnTo>
                  <a:pt x="260" y="100"/>
                </a:lnTo>
                <a:lnTo>
                  <a:pt x="222" y="74"/>
                </a:lnTo>
                <a:lnTo>
                  <a:pt x="182" y="54"/>
                </a:lnTo>
                <a:lnTo>
                  <a:pt x="138" y="34"/>
                </a:lnTo>
                <a:lnTo>
                  <a:pt x="94" y="20"/>
                </a:lnTo>
                <a:lnTo>
                  <a:pt x="48" y="8"/>
                </a:lnTo>
                <a:lnTo>
                  <a:pt x="0" y="0"/>
                </a:lnTo>
                <a:lnTo>
                  <a:pt x="84" y="80"/>
                </a:lnTo>
                <a:lnTo>
                  <a:pt x="84" y="80"/>
                </a:lnTo>
                <a:lnTo>
                  <a:pt x="90" y="88"/>
                </a:lnTo>
                <a:lnTo>
                  <a:pt x="92" y="98"/>
                </a:lnTo>
                <a:lnTo>
                  <a:pt x="92" y="98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0" y="110"/>
                </a:lnTo>
                <a:lnTo>
                  <a:pt x="84" y="120"/>
                </a:lnTo>
                <a:lnTo>
                  <a:pt x="80" y="116"/>
                </a:lnTo>
                <a:lnTo>
                  <a:pt x="84" y="120"/>
                </a:lnTo>
                <a:lnTo>
                  <a:pt x="0" y="198"/>
                </a:lnTo>
                <a:lnTo>
                  <a:pt x="0" y="198"/>
                </a:lnTo>
                <a:lnTo>
                  <a:pt x="28" y="204"/>
                </a:lnTo>
                <a:lnTo>
                  <a:pt x="54" y="212"/>
                </a:lnTo>
                <a:lnTo>
                  <a:pt x="80" y="222"/>
                </a:lnTo>
                <a:lnTo>
                  <a:pt x="104" y="234"/>
                </a:lnTo>
                <a:lnTo>
                  <a:pt x="128" y="248"/>
                </a:lnTo>
                <a:lnTo>
                  <a:pt x="150" y="262"/>
                </a:lnTo>
                <a:lnTo>
                  <a:pt x="172" y="280"/>
                </a:lnTo>
                <a:lnTo>
                  <a:pt x="192" y="298"/>
                </a:lnTo>
                <a:lnTo>
                  <a:pt x="210" y="316"/>
                </a:lnTo>
                <a:lnTo>
                  <a:pt x="228" y="338"/>
                </a:lnTo>
                <a:lnTo>
                  <a:pt x="244" y="360"/>
                </a:lnTo>
                <a:lnTo>
                  <a:pt x="258" y="382"/>
                </a:lnTo>
                <a:lnTo>
                  <a:pt x="270" y="408"/>
                </a:lnTo>
                <a:lnTo>
                  <a:pt x="282" y="432"/>
                </a:lnTo>
                <a:lnTo>
                  <a:pt x="290" y="458"/>
                </a:lnTo>
                <a:lnTo>
                  <a:pt x="296" y="486"/>
                </a:lnTo>
                <a:lnTo>
                  <a:pt x="296" y="48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0" hasCustomPrompt="1"/>
          </p:nvPr>
        </p:nvSpPr>
        <p:spPr>
          <a:xfrm>
            <a:off x="1095012" y="1762968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1" hasCustomPrompt="1"/>
          </p:nvPr>
        </p:nvSpPr>
        <p:spPr>
          <a:xfrm>
            <a:off x="1095012" y="5206631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8" name="Espace réservé du texte 25"/>
          <p:cNvSpPr>
            <a:spLocks noGrp="1"/>
          </p:cNvSpPr>
          <p:nvPr>
            <p:ph type="body" sz="quarter" idx="12" hasCustomPrompt="1"/>
          </p:nvPr>
        </p:nvSpPr>
        <p:spPr>
          <a:xfrm>
            <a:off x="6783644" y="1762968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9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6783644" y="5206631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31" name="Espace réservé pour une image  30"/>
          <p:cNvSpPr>
            <a:spLocks noGrp="1"/>
          </p:cNvSpPr>
          <p:nvPr>
            <p:ph type="pic" sz="quarter" idx="14"/>
          </p:nvPr>
        </p:nvSpPr>
        <p:spPr>
          <a:xfrm>
            <a:off x="3348551" y="2323462"/>
            <a:ext cx="2749605" cy="2571183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33" name="Espace réservé du texte 32"/>
          <p:cNvSpPr>
            <a:spLocks noGrp="1"/>
          </p:cNvSpPr>
          <p:nvPr>
            <p:ph type="body" sz="quarter" idx="15" hasCustomPrompt="1"/>
          </p:nvPr>
        </p:nvSpPr>
        <p:spPr>
          <a:xfrm rot="18729450">
            <a:off x="2324385" y="1848364"/>
            <a:ext cx="2228393" cy="558467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4" name="Espace réservé du texte 32"/>
          <p:cNvSpPr>
            <a:spLocks noGrp="1"/>
          </p:cNvSpPr>
          <p:nvPr>
            <p:ph type="body" sz="quarter" idx="16" hasCustomPrompt="1"/>
          </p:nvPr>
        </p:nvSpPr>
        <p:spPr>
          <a:xfrm rot="2910565">
            <a:off x="5174783" y="2176498"/>
            <a:ext cx="2228393" cy="558467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5" name="Espace réservé du texte 32"/>
          <p:cNvSpPr>
            <a:spLocks noGrp="1"/>
          </p:cNvSpPr>
          <p:nvPr>
            <p:ph type="body" sz="quarter" idx="17" hasCustomPrompt="1"/>
          </p:nvPr>
        </p:nvSpPr>
        <p:spPr>
          <a:xfrm rot="19158514">
            <a:off x="4760541" y="4829596"/>
            <a:ext cx="2289115" cy="543652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6" name="Espace réservé du texte 32"/>
          <p:cNvSpPr>
            <a:spLocks noGrp="1"/>
          </p:cNvSpPr>
          <p:nvPr>
            <p:ph type="body" sz="quarter" idx="18" hasCustomPrompt="1"/>
          </p:nvPr>
        </p:nvSpPr>
        <p:spPr>
          <a:xfrm rot="3221743">
            <a:off x="2172280" y="4565989"/>
            <a:ext cx="2228392" cy="558467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5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289403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dynamiques en matr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3576638" y="2725444"/>
            <a:ext cx="1457325" cy="152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20" name="ZoneTexte 1"/>
          <p:cNvSpPr txBox="1">
            <a:spLocks noChangeArrowheads="1"/>
          </p:cNvSpPr>
          <p:nvPr/>
        </p:nvSpPr>
        <p:spPr bwMode="auto">
          <a:xfrm rot="18900000">
            <a:off x="4040188" y="2360319"/>
            <a:ext cx="5984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ZoneTexte 24"/>
          <p:cNvSpPr txBox="1">
            <a:spLocks noChangeArrowheads="1"/>
          </p:cNvSpPr>
          <p:nvPr/>
        </p:nvSpPr>
        <p:spPr bwMode="auto">
          <a:xfrm rot="2700000">
            <a:off x="4799807" y="2946900"/>
            <a:ext cx="635000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ZoneTexte 25"/>
          <p:cNvSpPr txBox="1">
            <a:spLocks noChangeArrowheads="1"/>
          </p:cNvSpPr>
          <p:nvPr/>
        </p:nvSpPr>
        <p:spPr bwMode="auto">
          <a:xfrm rot="18900000">
            <a:off x="4106863" y="3576344"/>
            <a:ext cx="677862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7" name="ZoneTexte 26"/>
          <p:cNvSpPr txBox="1">
            <a:spLocks noChangeArrowheads="1"/>
          </p:cNvSpPr>
          <p:nvPr/>
        </p:nvSpPr>
        <p:spPr bwMode="auto">
          <a:xfrm rot="2700000">
            <a:off x="3410744" y="3029450"/>
            <a:ext cx="635000" cy="9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1441931" y="1093495"/>
            <a:ext cx="5794365" cy="4871654"/>
            <a:chOff x="1377960" y="1093494"/>
            <a:chExt cx="5881678" cy="4945063"/>
          </a:xfrm>
        </p:grpSpPr>
        <p:sp>
          <p:nvSpPr>
            <p:cNvPr id="12" name="Forme libre 11"/>
            <p:cNvSpPr/>
            <p:nvPr/>
          </p:nvSpPr>
          <p:spPr>
            <a:xfrm>
              <a:off x="4042311" y="1093494"/>
              <a:ext cx="3214647" cy="2346325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7" name="Forme libre 16"/>
            <p:cNvSpPr/>
            <p:nvPr/>
          </p:nvSpPr>
          <p:spPr>
            <a:xfrm rot="5400000">
              <a:off x="4400541" y="3179469"/>
              <a:ext cx="2814638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8" name="Forme libre 17"/>
            <p:cNvSpPr/>
            <p:nvPr/>
          </p:nvSpPr>
          <p:spPr>
            <a:xfrm rot="16200000">
              <a:off x="1518454" y="987925"/>
              <a:ext cx="2622550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9" name="Forme libre 18"/>
            <p:cNvSpPr/>
            <p:nvPr/>
          </p:nvSpPr>
          <p:spPr>
            <a:xfrm rot="10800000">
              <a:off x="1377960" y="3522369"/>
              <a:ext cx="3248025" cy="2516188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8" name="Flèche droite 1"/>
            <p:cNvSpPr/>
            <p:nvPr/>
          </p:nvSpPr>
          <p:spPr>
            <a:xfrm>
              <a:off x="1471613" y="2815932"/>
              <a:ext cx="2767012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9" name="Flèche droite 1"/>
            <p:cNvSpPr/>
            <p:nvPr/>
          </p:nvSpPr>
          <p:spPr>
            <a:xfrm rot="16200000">
              <a:off x="3117056" y="4047038"/>
              <a:ext cx="24114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0" name="Flèche droite 1"/>
            <p:cNvSpPr/>
            <p:nvPr/>
          </p:nvSpPr>
          <p:spPr>
            <a:xfrm rot="10800000">
              <a:off x="4406900" y="2815932"/>
              <a:ext cx="2765425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1" name="Corde 30"/>
            <p:cNvSpPr/>
            <p:nvPr/>
          </p:nvSpPr>
          <p:spPr>
            <a:xfrm rot="14220000">
              <a:off x="6196013" y="1999956"/>
              <a:ext cx="1125538" cy="10017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2" name="Flèche droite 1"/>
            <p:cNvSpPr/>
            <p:nvPr/>
          </p:nvSpPr>
          <p:spPr>
            <a:xfrm rot="5400000">
              <a:off x="3225006" y="1586413"/>
              <a:ext cx="21955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3" name="Corde 32"/>
            <p:cNvSpPr/>
            <p:nvPr/>
          </p:nvSpPr>
          <p:spPr>
            <a:xfrm rot="3420000">
              <a:off x="1320800" y="3952582"/>
              <a:ext cx="1125538" cy="1001712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4" name="Corde 33"/>
            <p:cNvSpPr/>
            <p:nvPr/>
          </p:nvSpPr>
          <p:spPr>
            <a:xfrm rot="8820000">
              <a:off x="2682875" y="1160169"/>
              <a:ext cx="1201738" cy="939800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5" name="Corde 34"/>
            <p:cNvSpPr/>
            <p:nvPr/>
          </p:nvSpPr>
          <p:spPr>
            <a:xfrm rot="19620000">
              <a:off x="4740275" y="5068594"/>
              <a:ext cx="1201738" cy="9382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</p:grpSp>
      <p:sp>
        <p:nvSpPr>
          <p:cNvPr id="36" name="ZoneTexte 1"/>
          <p:cNvSpPr txBox="1">
            <a:spLocks noChangeArrowheads="1"/>
          </p:cNvSpPr>
          <p:nvPr/>
        </p:nvSpPr>
        <p:spPr bwMode="auto">
          <a:xfrm rot="18900000">
            <a:off x="3941763" y="2435439"/>
            <a:ext cx="6731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1</a:t>
            </a:r>
          </a:p>
        </p:txBody>
      </p:sp>
      <p:sp>
        <p:nvSpPr>
          <p:cNvPr id="37" name="ZoneTexte 24"/>
          <p:cNvSpPr txBox="1">
            <a:spLocks noChangeArrowheads="1"/>
          </p:cNvSpPr>
          <p:nvPr/>
        </p:nvSpPr>
        <p:spPr bwMode="auto">
          <a:xfrm rot="2700000">
            <a:off x="4568826" y="3005351"/>
            <a:ext cx="7620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2</a:t>
            </a:r>
          </a:p>
        </p:txBody>
      </p:sp>
      <p:sp>
        <p:nvSpPr>
          <p:cNvPr id="38" name="ZoneTexte 25"/>
          <p:cNvSpPr txBox="1">
            <a:spLocks noChangeArrowheads="1"/>
          </p:cNvSpPr>
          <p:nvPr/>
        </p:nvSpPr>
        <p:spPr bwMode="auto">
          <a:xfrm rot="18900000">
            <a:off x="4084638" y="3389526"/>
            <a:ext cx="762000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3</a:t>
            </a:r>
          </a:p>
        </p:txBody>
      </p:sp>
      <p:sp>
        <p:nvSpPr>
          <p:cNvPr id="39" name="ZoneTexte 26"/>
          <p:cNvSpPr txBox="1">
            <a:spLocks noChangeArrowheads="1"/>
          </p:cNvSpPr>
          <p:nvPr/>
        </p:nvSpPr>
        <p:spPr bwMode="auto">
          <a:xfrm rot="2700000">
            <a:off x="3479007" y="3096632"/>
            <a:ext cx="76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4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24"/>
          <p:cNvSpPr>
            <a:spLocks noGrp="1" noChangeArrowheads="1"/>
          </p:cNvSpPr>
          <p:nvPr>
            <p:ph idx="13"/>
          </p:nvPr>
        </p:nvSpPr>
        <p:spPr bwMode="auto">
          <a:xfrm>
            <a:off x="1516567" y="1208705"/>
            <a:ext cx="1882466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Rectangle 24"/>
          <p:cNvSpPr>
            <a:spLocks noGrp="1" noChangeArrowheads="1"/>
          </p:cNvSpPr>
          <p:nvPr>
            <p:ph idx="14"/>
          </p:nvPr>
        </p:nvSpPr>
        <p:spPr bwMode="auto">
          <a:xfrm>
            <a:off x="4919847" y="1208705"/>
            <a:ext cx="2003428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5" name="Rectangle 24"/>
          <p:cNvSpPr>
            <a:spLocks noGrp="1" noChangeArrowheads="1"/>
          </p:cNvSpPr>
          <p:nvPr>
            <p:ph idx="15"/>
          </p:nvPr>
        </p:nvSpPr>
        <p:spPr bwMode="auto">
          <a:xfrm>
            <a:off x="1777989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6" name="Rectangle 24"/>
          <p:cNvSpPr>
            <a:spLocks noGrp="1" noChangeArrowheads="1"/>
          </p:cNvSpPr>
          <p:nvPr>
            <p:ph idx="16"/>
          </p:nvPr>
        </p:nvSpPr>
        <p:spPr bwMode="auto">
          <a:xfrm>
            <a:off x="5206837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1" name="Rectangle 24"/>
          <p:cNvSpPr>
            <a:spLocks noGrp="1" noChangeArrowheads="1"/>
          </p:cNvSpPr>
          <p:nvPr>
            <p:ph idx="1"/>
          </p:nvPr>
        </p:nvSpPr>
        <p:spPr bwMode="auto">
          <a:xfrm>
            <a:off x="1555073" y="1626985"/>
            <a:ext cx="2220697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2" name="Rectangle 24"/>
          <p:cNvSpPr>
            <a:spLocks noGrp="1" noChangeArrowheads="1"/>
          </p:cNvSpPr>
          <p:nvPr>
            <p:ph idx="17"/>
          </p:nvPr>
        </p:nvSpPr>
        <p:spPr bwMode="auto">
          <a:xfrm>
            <a:off x="4939449" y="1626985"/>
            <a:ext cx="2210832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3" name="Rectangle 24"/>
          <p:cNvSpPr>
            <a:spLocks noGrp="1" noChangeArrowheads="1"/>
          </p:cNvSpPr>
          <p:nvPr>
            <p:ph idx="18"/>
          </p:nvPr>
        </p:nvSpPr>
        <p:spPr bwMode="auto">
          <a:xfrm>
            <a:off x="1555073" y="4471313"/>
            <a:ext cx="2220697" cy="1610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4" name="Rectangle 24"/>
          <p:cNvSpPr>
            <a:spLocks noGrp="1" noChangeArrowheads="1"/>
          </p:cNvSpPr>
          <p:nvPr>
            <p:ph idx="19"/>
          </p:nvPr>
        </p:nvSpPr>
        <p:spPr bwMode="auto">
          <a:xfrm>
            <a:off x="4939449" y="4471313"/>
            <a:ext cx="2210832" cy="1590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cxnSp>
        <p:nvCxnSpPr>
          <p:cNvPr id="4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7107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dynamiques en matrice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3576638" y="2725444"/>
            <a:ext cx="1457325" cy="152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20" name="ZoneTexte 1"/>
          <p:cNvSpPr txBox="1">
            <a:spLocks noChangeArrowheads="1"/>
          </p:cNvSpPr>
          <p:nvPr/>
        </p:nvSpPr>
        <p:spPr bwMode="auto">
          <a:xfrm rot="18900000">
            <a:off x="4040188" y="2360319"/>
            <a:ext cx="5984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ZoneTexte 24"/>
          <p:cNvSpPr txBox="1">
            <a:spLocks noChangeArrowheads="1"/>
          </p:cNvSpPr>
          <p:nvPr/>
        </p:nvSpPr>
        <p:spPr bwMode="auto">
          <a:xfrm rot="2700000">
            <a:off x="4799807" y="2946900"/>
            <a:ext cx="635000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ZoneTexte 25"/>
          <p:cNvSpPr txBox="1">
            <a:spLocks noChangeArrowheads="1"/>
          </p:cNvSpPr>
          <p:nvPr/>
        </p:nvSpPr>
        <p:spPr bwMode="auto">
          <a:xfrm rot="18900000">
            <a:off x="4106863" y="3576344"/>
            <a:ext cx="677862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7" name="ZoneTexte 26"/>
          <p:cNvSpPr txBox="1">
            <a:spLocks noChangeArrowheads="1"/>
          </p:cNvSpPr>
          <p:nvPr/>
        </p:nvSpPr>
        <p:spPr bwMode="auto">
          <a:xfrm rot="2700000">
            <a:off x="3410744" y="3029450"/>
            <a:ext cx="635000" cy="9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1441931" y="1093495"/>
            <a:ext cx="5794365" cy="4871654"/>
            <a:chOff x="1377960" y="1093494"/>
            <a:chExt cx="5881678" cy="4945063"/>
          </a:xfrm>
        </p:grpSpPr>
        <p:sp>
          <p:nvSpPr>
            <p:cNvPr id="12" name="Forme libre 11"/>
            <p:cNvSpPr/>
            <p:nvPr/>
          </p:nvSpPr>
          <p:spPr>
            <a:xfrm>
              <a:off x="4042311" y="1093494"/>
              <a:ext cx="3214647" cy="2346325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7" name="Forme libre 16"/>
            <p:cNvSpPr/>
            <p:nvPr/>
          </p:nvSpPr>
          <p:spPr>
            <a:xfrm rot="5400000">
              <a:off x="4400541" y="3179469"/>
              <a:ext cx="2814638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8" name="Forme libre 17"/>
            <p:cNvSpPr/>
            <p:nvPr/>
          </p:nvSpPr>
          <p:spPr>
            <a:xfrm rot="16200000">
              <a:off x="1518454" y="987925"/>
              <a:ext cx="2622550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9" name="Forme libre 18"/>
            <p:cNvSpPr/>
            <p:nvPr/>
          </p:nvSpPr>
          <p:spPr>
            <a:xfrm rot="10800000">
              <a:off x="1377960" y="3522369"/>
              <a:ext cx="3248025" cy="2516188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8" name="Flèche droite 1"/>
            <p:cNvSpPr/>
            <p:nvPr/>
          </p:nvSpPr>
          <p:spPr>
            <a:xfrm>
              <a:off x="1471613" y="2815932"/>
              <a:ext cx="2767012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9" name="Flèche droite 1"/>
            <p:cNvSpPr/>
            <p:nvPr/>
          </p:nvSpPr>
          <p:spPr>
            <a:xfrm rot="16200000">
              <a:off x="3117056" y="4047038"/>
              <a:ext cx="24114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0" name="Flèche droite 1"/>
            <p:cNvSpPr/>
            <p:nvPr/>
          </p:nvSpPr>
          <p:spPr>
            <a:xfrm rot="10800000">
              <a:off x="4406900" y="2815932"/>
              <a:ext cx="2765425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1" name="Corde 30"/>
            <p:cNvSpPr/>
            <p:nvPr/>
          </p:nvSpPr>
          <p:spPr>
            <a:xfrm rot="14220000">
              <a:off x="6196013" y="1999956"/>
              <a:ext cx="1125538" cy="10017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2" name="Flèche droite 1"/>
            <p:cNvSpPr/>
            <p:nvPr/>
          </p:nvSpPr>
          <p:spPr>
            <a:xfrm rot="5400000">
              <a:off x="3225006" y="1586413"/>
              <a:ext cx="21955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3" name="Corde 32"/>
            <p:cNvSpPr/>
            <p:nvPr/>
          </p:nvSpPr>
          <p:spPr>
            <a:xfrm rot="3420000">
              <a:off x="1320800" y="3952582"/>
              <a:ext cx="1125538" cy="1001712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4" name="Corde 33"/>
            <p:cNvSpPr/>
            <p:nvPr/>
          </p:nvSpPr>
          <p:spPr>
            <a:xfrm rot="8820000">
              <a:off x="2682875" y="1160169"/>
              <a:ext cx="1201738" cy="939800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5" name="Corde 34"/>
            <p:cNvSpPr/>
            <p:nvPr/>
          </p:nvSpPr>
          <p:spPr>
            <a:xfrm rot="19620000">
              <a:off x="4740275" y="5068594"/>
              <a:ext cx="1201738" cy="9382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</p:grpSp>
      <p:sp>
        <p:nvSpPr>
          <p:cNvPr id="36" name="ZoneTexte 1"/>
          <p:cNvSpPr txBox="1">
            <a:spLocks noChangeArrowheads="1"/>
          </p:cNvSpPr>
          <p:nvPr/>
        </p:nvSpPr>
        <p:spPr bwMode="auto">
          <a:xfrm rot="18900000">
            <a:off x="3941763" y="2435439"/>
            <a:ext cx="6731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1</a:t>
            </a:r>
          </a:p>
        </p:txBody>
      </p:sp>
      <p:sp>
        <p:nvSpPr>
          <p:cNvPr id="37" name="ZoneTexte 24"/>
          <p:cNvSpPr txBox="1">
            <a:spLocks noChangeArrowheads="1"/>
          </p:cNvSpPr>
          <p:nvPr/>
        </p:nvSpPr>
        <p:spPr bwMode="auto">
          <a:xfrm rot="2700000">
            <a:off x="4568826" y="3005351"/>
            <a:ext cx="7620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2</a:t>
            </a:r>
          </a:p>
        </p:txBody>
      </p:sp>
      <p:sp>
        <p:nvSpPr>
          <p:cNvPr id="38" name="ZoneTexte 25"/>
          <p:cNvSpPr txBox="1">
            <a:spLocks noChangeArrowheads="1"/>
          </p:cNvSpPr>
          <p:nvPr/>
        </p:nvSpPr>
        <p:spPr bwMode="auto">
          <a:xfrm rot="18900000">
            <a:off x="4084638" y="3389526"/>
            <a:ext cx="762000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3</a:t>
            </a:r>
          </a:p>
        </p:txBody>
      </p:sp>
      <p:sp>
        <p:nvSpPr>
          <p:cNvPr id="39" name="ZoneTexte 26"/>
          <p:cNvSpPr txBox="1">
            <a:spLocks noChangeArrowheads="1"/>
          </p:cNvSpPr>
          <p:nvPr/>
        </p:nvSpPr>
        <p:spPr bwMode="auto">
          <a:xfrm rot="2700000">
            <a:off x="3479007" y="3096632"/>
            <a:ext cx="76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4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24"/>
          <p:cNvSpPr>
            <a:spLocks noGrp="1" noChangeArrowheads="1"/>
          </p:cNvSpPr>
          <p:nvPr>
            <p:ph idx="13"/>
          </p:nvPr>
        </p:nvSpPr>
        <p:spPr bwMode="auto">
          <a:xfrm>
            <a:off x="1516567" y="1208705"/>
            <a:ext cx="1882466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Rectangle 24"/>
          <p:cNvSpPr>
            <a:spLocks noGrp="1" noChangeArrowheads="1"/>
          </p:cNvSpPr>
          <p:nvPr>
            <p:ph idx="14"/>
          </p:nvPr>
        </p:nvSpPr>
        <p:spPr bwMode="auto">
          <a:xfrm>
            <a:off x="4919847" y="1208705"/>
            <a:ext cx="2003428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5" name="Rectangle 24"/>
          <p:cNvSpPr>
            <a:spLocks noGrp="1" noChangeArrowheads="1"/>
          </p:cNvSpPr>
          <p:nvPr>
            <p:ph idx="15"/>
          </p:nvPr>
        </p:nvSpPr>
        <p:spPr bwMode="auto">
          <a:xfrm>
            <a:off x="1777989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6" name="Rectangle 24"/>
          <p:cNvSpPr>
            <a:spLocks noGrp="1" noChangeArrowheads="1"/>
          </p:cNvSpPr>
          <p:nvPr>
            <p:ph idx="16"/>
          </p:nvPr>
        </p:nvSpPr>
        <p:spPr bwMode="auto">
          <a:xfrm>
            <a:off x="5206837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1" name="Rectangle 24"/>
          <p:cNvSpPr>
            <a:spLocks noGrp="1" noChangeArrowheads="1"/>
          </p:cNvSpPr>
          <p:nvPr>
            <p:ph idx="1"/>
          </p:nvPr>
        </p:nvSpPr>
        <p:spPr bwMode="auto">
          <a:xfrm>
            <a:off x="1555073" y="1626985"/>
            <a:ext cx="2220697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2" name="Rectangle 24"/>
          <p:cNvSpPr>
            <a:spLocks noGrp="1" noChangeArrowheads="1"/>
          </p:cNvSpPr>
          <p:nvPr>
            <p:ph idx="17"/>
          </p:nvPr>
        </p:nvSpPr>
        <p:spPr bwMode="auto">
          <a:xfrm>
            <a:off x="4939449" y="1626985"/>
            <a:ext cx="2210832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3" name="Rectangle 24"/>
          <p:cNvSpPr>
            <a:spLocks noGrp="1" noChangeArrowheads="1"/>
          </p:cNvSpPr>
          <p:nvPr>
            <p:ph idx="18"/>
          </p:nvPr>
        </p:nvSpPr>
        <p:spPr bwMode="auto">
          <a:xfrm>
            <a:off x="1555073" y="4471313"/>
            <a:ext cx="2220697" cy="1610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4" name="Rectangle 24"/>
          <p:cNvSpPr>
            <a:spLocks noGrp="1" noChangeArrowheads="1"/>
          </p:cNvSpPr>
          <p:nvPr>
            <p:ph idx="19"/>
          </p:nvPr>
        </p:nvSpPr>
        <p:spPr bwMode="auto">
          <a:xfrm>
            <a:off x="4939449" y="4471313"/>
            <a:ext cx="2210832" cy="1590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cxnSp>
        <p:nvCxnSpPr>
          <p:cNvPr id="4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689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èche à quatre pointes 5"/>
          <p:cNvSpPr/>
          <p:nvPr/>
        </p:nvSpPr>
        <p:spPr>
          <a:xfrm>
            <a:off x="755650" y="1038225"/>
            <a:ext cx="7624763" cy="5240338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7" name="Titre 1"/>
          <p:cNvSpPr txBox="1">
            <a:spLocks/>
          </p:cNvSpPr>
          <p:nvPr/>
        </p:nvSpPr>
        <p:spPr bwMode="auto">
          <a:xfrm>
            <a:off x="457200" y="45720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70208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fr-FR" dirty="0"/>
              <a:t>Modifiez le style du titre</a:t>
            </a:r>
          </a:p>
        </p:txBody>
      </p:sp>
      <p:sp>
        <p:nvSpPr>
          <p:cNvPr id="19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788024" y="3758336"/>
            <a:ext cx="3096344" cy="1944216"/>
          </a:xfrm>
          <a:prstGeom prst="rect">
            <a:avLst/>
          </a:prstGeom>
          <a:gradFill>
            <a:gsLst>
              <a:gs pos="0">
                <a:srgbClr val="007E5A"/>
              </a:gs>
              <a:gs pos="100000">
                <a:srgbClr val="00AC7B"/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vert="horz" wrap="square" lIns="72000" tIns="36000" rIns="72000" bIns="36000" numCol="1" anchor="ctr" anchorCtr="1" compatLnSpc="1">
            <a:prstTxWarp prst="textNoShape">
              <a:avLst/>
            </a:prstTxWarp>
            <a:normAutofit/>
          </a:bodyPr>
          <a:lstStyle>
            <a:lvl1pPr>
              <a:defRPr lang="fr-FR" sz="180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 algn="ctr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88024" y="1526088"/>
            <a:ext cx="3096344" cy="194421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8DF6"/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lIns="72000" tIns="36000" rIns="72000" bIns="36000" anchor="ctr" anchorCtr="1">
            <a:normAutofit/>
          </a:bodyPr>
          <a:lstStyle>
            <a:lvl1pPr algn="ctr">
              <a:defRPr lang="fr-FR" sz="1800" dirty="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23"/>
          </p:nvPr>
        </p:nvSpPr>
        <p:spPr>
          <a:xfrm>
            <a:off x="1259632" y="3758336"/>
            <a:ext cx="3096344" cy="1944216"/>
          </a:xfrm>
          <a:prstGeom prst="rect">
            <a:avLst/>
          </a:prstGeom>
          <a:gradFill>
            <a:gsLst>
              <a:gs pos="0">
                <a:srgbClr val="613177"/>
              </a:gs>
              <a:gs pos="100000">
                <a:srgbClr val="904CBA"/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lIns="72000" tIns="36000" rIns="72000" bIns="36000" anchor="ctr" anchorCtr="1">
            <a:normAutofit/>
          </a:bodyPr>
          <a:lstStyle>
            <a:lvl1pPr algn="ctr">
              <a:defRPr lang="fr-FR" sz="1800" dirty="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1259632" y="1526088"/>
            <a:ext cx="3096344" cy="1944216"/>
          </a:xfrm>
          <a:prstGeom prst="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bg1">
                  <a:lumMod val="50000"/>
                </a:schemeClr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lIns="72000" tIns="36000" rIns="72000" bIns="36000" anchor="ctr" anchorCtr="1">
            <a:normAutofit/>
          </a:bodyPr>
          <a:lstStyle>
            <a:lvl1pPr algn="ctr">
              <a:defRPr lang="fr-FR" sz="1800" dirty="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57355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 dé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èche à quatre pointes 9"/>
          <p:cNvSpPr/>
          <p:nvPr/>
        </p:nvSpPr>
        <p:spPr>
          <a:xfrm>
            <a:off x="755650" y="1114425"/>
            <a:ext cx="7624763" cy="4834855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11" name="Titre 1"/>
          <p:cNvSpPr txBox="1">
            <a:spLocks/>
          </p:cNvSpPr>
          <p:nvPr/>
        </p:nvSpPr>
        <p:spPr bwMode="auto">
          <a:xfrm>
            <a:off x="457200" y="45720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70208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fr-FR" dirty="0"/>
              <a:t>Modifiez le style du titr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841364" y="1758215"/>
            <a:ext cx="3115012" cy="1526769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841364" y="3769448"/>
            <a:ext cx="3115012" cy="15267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  <a:miter lim="800000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/>
          </p:nvPr>
        </p:nvSpPr>
        <p:spPr>
          <a:xfrm>
            <a:off x="4834089" y="1169399"/>
            <a:ext cx="3133422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marL="0" indent="0" algn="ctr">
              <a:buNone/>
              <a:defRPr lang="fr-FR" sz="1600" baseline="0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1191430" y="1169399"/>
            <a:ext cx="3142744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/>
          </p:nvPr>
        </p:nvSpPr>
        <p:spPr>
          <a:xfrm>
            <a:off x="4834089" y="5404456"/>
            <a:ext cx="3133422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marL="0" indent="0" algn="ctr">
              <a:buNone/>
              <a:defRPr lang="fr-FR" sz="1600" baseline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/>
          </p:nvPr>
        </p:nvSpPr>
        <p:spPr>
          <a:xfrm>
            <a:off x="1191430" y="5404456"/>
            <a:ext cx="3142744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21"/>
          <p:cNvSpPr>
            <a:spLocks noGrp="1"/>
          </p:cNvSpPr>
          <p:nvPr>
            <p:ph type="body" sz="quarter" idx="18"/>
          </p:nvPr>
        </p:nvSpPr>
        <p:spPr>
          <a:xfrm>
            <a:off x="1187624" y="3769448"/>
            <a:ext cx="3115012" cy="1526769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21"/>
          <p:cNvSpPr>
            <a:spLocks noGrp="1"/>
          </p:cNvSpPr>
          <p:nvPr>
            <p:ph type="body" sz="quarter" idx="19"/>
          </p:nvPr>
        </p:nvSpPr>
        <p:spPr>
          <a:xfrm>
            <a:off x="1187624" y="1758215"/>
            <a:ext cx="3115012" cy="15267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3"/>
            </a:solidFill>
            <a:miter lim="800000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461342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410376" y="1784933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956240" y="1773285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410376" y="3676264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4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956240" y="3676264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5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/>
          </p:nvPr>
        </p:nvSpPr>
        <p:spPr>
          <a:xfrm>
            <a:off x="4880680" y="1196752"/>
            <a:ext cx="3244080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algn="ctr">
              <a:defRPr lang="fr-FR" sz="1600" baseline="0" dirty="0" smtClean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1409450" y="1196752"/>
            <a:ext cx="327320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3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/>
          </p:nvPr>
        </p:nvSpPr>
        <p:spPr>
          <a:xfrm>
            <a:off x="4953110" y="5373216"/>
            <a:ext cx="3244080" cy="476250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1600" b="1" baseline="0">
                <a:solidFill>
                  <a:schemeClr val="accent5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/>
          </p:nvPr>
        </p:nvSpPr>
        <p:spPr>
          <a:xfrm>
            <a:off x="1409450" y="5373216"/>
            <a:ext cx="3273203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algn="ctr">
              <a:spcAft>
                <a:spcPts val="0"/>
              </a:spcAft>
              <a:defRPr lang="fr-FR" sz="1600" baseline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20"/>
          <p:cNvSpPr>
            <a:spLocks noGrp="1"/>
          </p:cNvSpPr>
          <p:nvPr>
            <p:ph type="body" sz="quarter" idx="18"/>
          </p:nvPr>
        </p:nvSpPr>
        <p:spPr>
          <a:xfrm rot="16200000">
            <a:off x="82009" y="2239403"/>
            <a:ext cx="1535657" cy="74649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20"/>
          <p:cNvSpPr>
            <a:spLocks noGrp="1"/>
          </p:cNvSpPr>
          <p:nvPr>
            <p:ph type="body" sz="quarter" idx="19"/>
          </p:nvPr>
        </p:nvSpPr>
        <p:spPr>
          <a:xfrm rot="16200000">
            <a:off x="73392" y="4093273"/>
            <a:ext cx="1552890" cy="74649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Straight Connector 7"/>
          <p:cNvCxnSpPr/>
          <p:nvPr/>
        </p:nvCxnSpPr>
        <p:spPr>
          <a:xfrm>
            <a:off x="457200" y="6020278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83574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 cercles -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llipse 7"/>
          <p:cNvSpPr/>
          <p:nvPr/>
        </p:nvSpPr>
        <p:spPr>
          <a:xfrm>
            <a:off x="899592" y="1225872"/>
            <a:ext cx="2233162" cy="2231611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389908" y="1225872"/>
            <a:ext cx="2231611" cy="2231613"/>
          </a:xfrm>
          <a:prstGeom prst="ellipse">
            <a:avLst/>
          </a:prstGeom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5885184" y="1225872"/>
            <a:ext cx="2231611" cy="2231613"/>
          </a:xfrm>
          <a:prstGeom prst="ellipse">
            <a:avLst/>
          </a:prstGeom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2195736" y="3590676"/>
            <a:ext cx="2231944" cy="2231944"/>
          </a:xfrm>
          <a:prstGeom prst="ellipse">
            <a:avLst/>
          </a:prstGeom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4660696" y="3590676"/>
            <a:ext cx="2231944" cy="2231944"/>
          </a:xfrm>
          <a:prstGeom prst="ellipse">
            <a:avLst/>
          </a:prstGeom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15832" y="144129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3605328" y="144129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00604" y="144129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3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2411332" y="380627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5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4876292" y="380627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cxnSp>
        <p:nvCxnSpPr>
          <p:cNvPr id="18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64998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2580476" y="1412776"/>
            <a:ext cx="2016000" cy="973138"/>
          </a:xfr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92474" y="1412776"/>
            <a:ext cx="2016000" cy="973138"/>
          </a:xfr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6804472" y="1412776"/>
            <a:ext cx="2016000" cy="973138"/>
          </a:xfr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468478" y="1412776"/>
            <a:ext cx="2016000" cy="973138"/>
          </a:xfr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67543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2579853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6"/>
          </p:nvPr>
        </p:nvSpPr>
        <p:spPr>
          <a:xfrm>
            <a:off x="4692163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804472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3301055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thèmes - 3 arg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4686360" y="1262660"/>
            <a:ext cx="1440160" cy="1440000"/>
          </a:xfrm>
          <a:solidFill>
            <a:srgbClr val="DBD7E9"/>
          </a:soli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smtClean="0">
                <a:solidFill>
                  <a:schemeClr val="accent1">
                    <a:lumMod val="75000"/>
                  </a:schemeClr>
                </a:solidFill>
                <a:effectLst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4686360" y="2833068"/>
            <a:ext cx="1440160" cy="1440000"/>
          </a:xfrm>
          <a:gradFill>
            <a:gsLst>
              <a:gs pos="0">
                <a:srgbClr val="C8D7EA"/>
              </a:gs>
              <a:gs pos="53000">
                <a:srgbClr val="C8D7DF"/>
              </a:gs>
              <a:gs pos="100000">
                <a:srgbClr val="C8D7EA"/>
              </a:gs>
            </a:gsLst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rgbClr val="0070C0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22"/>
          </p:nvPr>
        </p:nvSpPr>
        <p:spPr>
          <a:xfrm>
            <a:off x="4686360" y="4416212"/>
            <a:ext cx="1440160" cy="144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2"/>
          <p:cNvSpPr>
            <a:spLocks noGrp="1"/>
          </p:cNvSpPr>
          <p:nvPr>
            <p:ph type="body" sz="quarter" idx="27"/>
          </p:nvPr>
        </p:nvSpPr>
        <p:spPr>
          <a:xfrm>
            <a:off x="1345408" y="2833068"/>
            <a:ext cx="1440000" cy="1440000"/>
          </a:xfrm>
          <a:prstGeom prst="rect">
            <a:avLst/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8"/>
          </p:nvPr>
        </p:nvSpPr>
        <p:spPr>
          <a:xfrm>
            <a:off x="1345408" y="4416212"/>
            <a:ext cx="1440000" cy="1440000"/>
          </a:xfrm>
          <a:prstGeom prst="rect">
            <a:avLst/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2"/>
          <p:cNvSpPr>
            <a:spLocks noGrp="1"/>
          </p:cNvSpPr>
          <p:nvPr>
            <p:ph type="body" sz="quarter" idx="29"/>
          </p:nvPr>
        </p:nvSpPr>
        <p:spPr>
          <a:xfrm>
            <a:off x="1345408" y="1262660"/>
            <a:ext cx="1440000" cy="1440000"/>
          </a:xfrm>
          <a:prstGeom prst="rect">
            <a:avLst/>
          </a:prstGeom>
          <a:gradFill>
            <a:gsLst>
              <a:gs pos="73000">
                <a:srgbClr val="632583"/>
              </a:gs>
              <a:gs pos="0">
                <a:schemeClr val="accent1">
                  <a:lumMod val="75000"/>
                </a:schemeClr>
              </a:gs>
              <a:gs pos="100000">
                <a:srgbClr val="7030A0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30"/>
          </p:nvPr>
        </p:nvSpPr>
        <p:spPr>
          <a:xfrm>
            <a:off x="3008992" y="1262660"/>
            <a:ext cx="1440160" cy="1440000"/>
          </a:xfrm>
          <a:solidFill>
            <a:srgbClr val="DBD7E9"/>
          </a:soli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smtClean="0">
                <a:solidFill>
                  <a:schemeClr val="accent1">
                    <a:lumMod val="75000"/>
                  </a:schemeClr>
                </a:solidFill>
                <a:effectLst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31"/>
          </p:nvPr>
        </p:nvSpPr>
        <p:spPr>
          <a:xfrm>
            <a:off x="3008992" y="2833068"/>
            <a:ext cx="1440160" cy="1440000"/>
          </a:xfrm>
          <a:gradFill>
            <a:gsLst>
              <a:gs pos="0">
                <a:srgbClr val="C8D7EA"/>
              </a:gs>
              <a:gs pos="53000">
                <a:srgbClr val="C8D7DF"/>
              </a:gs>
              <a:gs pos="100000">
                <a:srgbClr val="C8D7EA"/>
              </a:gs>
            </a:gsLst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rgbClr val="0070C0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32"/>
          </p:nvPr>
        </p:nvSpPr>
        <p:spPr>
          <a:xfrm>
            <a:off x="3008992" y="4416212"/>
            <a:ext cx="1440160" cy="144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33"/>
          </p:nvPr>
        </p:nvSpPr>
        <p:spPr>
          <a:xfrm>
            <a:off x="6375378" y="1262660"/>
            <a:ext cx="1440160" cy="1440000"/>
          </a:xfrm>
          <a:solidFill>
            <a:srgbClr val="DBD7E9"/>
          </a:soli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smtClean="0">
                <a:solidFill>
                  <a:schemeClr val="accent1">
                    <a:lumMod val="75000"/>
                  </a:schemeClr>
                </a:solidFill>
                <a:effectLst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34"/>
          </p:nvPr>
        </p:nvSpPr>
        <p:spPr>
          <a:xfrm>
            <a:off x="6375378" y="2833068"/>
            <a:ext cx="1440160" cy="1440000"/>
          </a:xfrm>
          <a:gradFill>
            <a:gsLst>
              <a:gs pos="0">
                <a:srgbClr val="C8D7EA"/>
              </a:gs>
              <a:gs pos="53000">
                <a:srgbClr val="C8D7DF"/>
              </a:gs>
              <a:gs pos="100000">
                <a:srgbClr val="C8D7EA"/>
              </a:gs>
            </a:gsLst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rgbClr val="0070C0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35"/>
          </p:nvPr>
        </p:nvSpPr>
        <p:spPr>
          <a:xfrm>
            <a:off x="6375378" y="4416212"/>
            <a:ext cx="1440160" cy="144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63115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détaillées en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592234" y="1393724"/>
            <a:ext cx="5113337" cy="10059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73184" y="3714237"/>
            <a:ext cx="5111750" cy="10059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3184" y="2548148"/>
            <a:ext cx="5111750" cy="10045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73184" y="4881911"/>
            <a:ext cx="5111750" cy="10045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5" name="Triangle isocèle 14"/>
          <p:cNvSpPr/>
          <p:nvPr/>
        </p:nvSpPr>
        <p:spPr>
          <a:xfrm rot="5400000">
            <a:off x="5634378" y="1680817"/>
            <a:ext cx="1005985" cy="4318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6" name="Triangle isocèle 15"/>
          <p:cNvSpPr/>
          <p:nvPr/>
        </p:nvSpPr>
        <p:spPr>
          <a:xfrm rot="5400000">
            <a:off x="5635117" y="2834502"/>
            <a:ext cx="1004507" cy="4318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7" name="Triangle isocèle 16"/>
          <p:cNvSpPr/>
          <p:nvPr/>
        </p:nvSpPr>
        <p:spPr>
          <a:xfrm rot="5400000">
            <a:off x="5634378" y="4001331"/>
            <a:ext cx="1005986" cy="4318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8" name="Triangle isocèle 17"/>
          <p:cNvSpPr/>
          <p:nvPr/>
        </p:nvSpPr>
        <p:spPr>
          <a:xfrm rot="5400000">
            <a:off x="5635117" y="5166678"/>
            <a:ext cx="1004507" cy="4318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grpSp>
        <p:nvGrpSpPr>
          <p:cNvPr id="19" name="Groupe 18"/>
          <p:cNvGrpSpPr>
            <a:grpSpLocks/>
          </p:cNvGrpSpPr>
          <p:nvPr/>
        </p:nvGrpSpPr>
        <p:grpSpPr bwMode="auto">
          <a:xfrm>
            <a:off x="4768946" y="1682649"/>
            <a:ext cx="936625" cy="792163"/>
            <a:chOff x="4572000" y="1628800"/>
            <a:chExt cx="936104" cy="792088"/>
          </a:xfrm>
        </p:grpSpPr>
        <p:sp>
          <p:nvSpPr>
            <p:cNvPr id="20" name="Rectangle 19"/>
            <p:cNvSpPr/>
            <p:nvPr/>
          </p:nvSpPr>
          <p:spPr>
            <a:xfrm>
              <a:off x="5024186" y="1628800"/>
              <a:ext cx="483918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21" name="Triangle isocèle 20"/>
            <p:cNvSpPr/>
            <p:nvPr/>
          </p:nvSpPr>
          <p:spPr>
            <a:xfrm>
              <a:off x="4572000" y="1628800"/>
              <a:ext cx="917065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>
                <a:latin typeface="+mn-lt"/>
              </a:endParaRPr>
            </a:p>
          </p:txBody>
        </p:sp>
      </p:grpSp>
      <p:grpSp>
        <p:nvGrpSpPr>
          <p:cNvPr id="22" name="Groupe 21"/>
          <p:cNvGrpSpPr>
            <a:grpSpLocks/>
          </p:cNvGrpSpPr>
          <p:nvPr/>
        </p:nvGrpSpPr>
        <p:grpSpPr bwMode="auto">
          <a:xfrm>
            <a:off x="4753071" y="2832310"/>
            <a:ext cx="935038" cy="792163"/>
            <a:chOff x="4572000" y="1628800"/>
            <a:chExt cx="936104" cy="792088"/>
          </a:xfrm>
        </p:grpSpPr>
        <p:sp>
          <p:nvSpPr>
            <p:cNvPr id="23" name="Rectangle 22"/>
            <p:cNvSpPr/>
            <p:nvPr/>
          </p:nvSpPr>
          <p:spPr>
            <a:xfrm>
              <a:off x="5023364" y="1628800"/>
              <a:ext cx="484740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24" name="Triangle isocèle 23"/>
            <p:cNvSpPr/>
            <p:nvPr/>
          </p:nvSpPr>
          <p:spPr>
            <a:xfrm>
              <a:off x="4572000" y="1628800"/>
              <a:ext cx="917032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</p:grpSp>
      <p:grpSp>
        <p:nvGrpSpPr>
          <p:cNvPr id="25" name="Groupe 24"/>
          <p:cNvGrpSpPr>
            <a:grpSpLocks/>
          </p:cNvGrpSpPr>
          <p:nvPr/>
        </p:nvGrpSpPr>
        <p:grpSpPr bwMode="auto">
          <a:xfrm>
            <a:off x="4753071" y="4003161"/>
            <a:ext cx="935038" cy="792162"/>
            <a:chOff x="4572000" y="1628800"/>
            <a:chExt cx="936104" cy="792088"/>
          </a:xfrm>
        </p:grpSpPr>
        <p:sp>
          <p:nvSpPr>
            <p:cNvPr id="26" name="Rectangle 25"/>
            <p:cNvSpPr/>
            <p:nvPr/>
          </p:nvSpPr>
          <p:spPr>
            <a:xfrm>
              <a:off x="5023364" y="1628800"/>
              <a:ext cx="484740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27" name="Triangle isocèle 26"/>
            <p:cNvSpPr/>
            <p:nvPr/>
          </p:nvSpPr>
          <p:spPr>
            <a:xfrm>
              <a:off x="4572000" y="1628800"/>
              <a:ext cx="917032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5262659" y="5167661"/>
            <a:ext cx="585787" cy="792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grpSp>
        <p:nvGrpSpPr>
          <p:cNvPr id="29" name="Groupe 28"/>
          <p:cNvGrpSpPr>
            <a:grpSpLocks/>
          </p:cNvGrpSpPr>
          <p:nvPr/>
        </p:nvGrpSpPr>
        <p:grpSpPr bwMode="auto">
          <a:xfrm>
            <a:off x="4753071" y="5167661"/>
            <a:ext cx="935038" cy="792163"/>
            <a:chOff x="4572000" y="1628800"/>
            <a:chExt cx="936104" cy="792088"/>
          </a:xfrm>
        </p:grpSpPr>
        <p:sp>
          <p:nvSpPr>
            <p:cNvPr id="30" name="Rectangle 29"/>
            <p:cNvSpPr/>
            <p:nvPr/>
          </p:nvSpPr>
          <p:spPr>
            <a:xfrm>
              <a:off x="5023364" y="1628800"/>
              <a:ext cx="484740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31" name="Triangle isocèle 30"/>
            <p:cNvSpPr/>
            <p:nvPr/>
          </p:nvSpPr>
          <p:spPr>
            <a:xfrm>
              <a:off x="4572000" y="1628800"/>
              <a:ext cx="917032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</p:grpSp>
      <p:sp>
        <p:nvSpPr>
          <p:cNvPr id="32" name="ZoneTexte 31"/>
          <p:cNvSpPr txBox="1">
            <a:spLocks noChangeArrowheads="1"/>
          </p:cNvSpPr>
          <p:nvPr/>
        </p:nvSpPr>
        <p:spPr bwMode="auto">
          <a:xfrm>
            <a:off x="5227734" y="1538187"/>
            <a:ext cx="46037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000" b="1" dirty="0">
                <a:latin typeface="+mn-lt"/>
                <a:cs typeface="Calibri" pitchFamily="34" charset="0"/>
              </a:rPr>
              <a:t>1</a:t>
            </a:r>
          </a:p>
        </p:txBody>
      </p:sp>
      <p:sp>
        <p:nvSpPr>
          <p:cNvPr id="33" name="ZoneTexte 32"/>
          <p:cNvSpPr txBox="1">
            <a:spLocks noChangeArrowheads="1"/>
          </p:cNvSpPr>
          <p:nvPr/>
        </p:nvSpPr>
        <p:spPr bwMode="auto">
          <a:xfrm>
            <a:off x="5224559" y="3858698"/>
            <a:ext cx="46037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400" b="1" dirty="0">
                <a:latin typeface="+mn-lt"/>
                <a:cs typeface="Calibri" pitchFamily="34" charset="0"/>
              </a:rPr>
              <a:t>3</a:t>
            </a:r>
          </a:p>
        </p:txBody>
      </p:sp>
      <p:sp>
        <p:nvSpPr>
          <p:cNvPr id="34" name="ZoneTexte 33"/>
          <p:cNvSpPr txBox="1">
            <a:spLocks noChangeArrowheads="1"/>
          </p:cNvSpPr>
          <p:nvPr/>
        </p:nvSpPr>
        <p:spPr bwMode="auto">
          <a:xfrm>
            <a:off x="5227734" y="2671973"/>
            <a:ext cx="46037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400" b="1" dirty="0">
                <a:latin typeface="+mn-lt"/>
                <a:cs typeface="Calibri" pitchFamily="34" charset="0"/>
              </a:rPr>
              <a:t>2</a:t>
            </a:r>
          </a:p>
        </p:txBody>
      </p:sp>
      <p:sp>
        <p:nvSpPr>
          <p:cNvPr id="35" name="ZoneTexte 34"/>
          <p:cNvSpPr txBox="1">
            <a:spLocks noChangeArrowheads="1"/>
          </p:cNvSpPr>
          <p:nvPr/>
        </p:nvSpPr>
        <p:spPr bwMode="auto">
          <a:xfrm>
            <a:off x="5243609" y="5058124"/>
            <a:ext cx="4619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400" b="1" dirty="0">
                <a:latin typeface="+mn-lt"/>
                <a:cs typeface="Calibri" pitchFamily="34" charset="0"/>
              </a:rPr>
              <a:t>4</a:t>
            </a:r>
          </a:p>
        </p:txBody>
      </p:sp>
      <p:sp>
        <p:nvSpPr>
          <p:cNvPr id="40" name="ZoneTexte 39"/>
          <p:cNvSpPr txBox="1">
            <a:spLocks noChangeArrowheads="1"/>
          </p:cNvSpPr>
          <p:nvPr/>
        </p:nvSpPr>
        <p:spPr bwMode="auto">
          <a:xfrm>
            <a:off x="1239934" y="1641374"/>
            <a:ext cx="2889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45" name="ZoneTexte 44"/>
          <p:cNvSpPr txBox="1">
            <a:spLocks noChangeArrowheads="1"/>
          </p:cNvSpPr>
          <p:nvPr/>
        </p:nvSpPr>
        <p:spPr bwMode="auto">
          <a:xfrm>
            <a:off x="1239934" y="2795798"/>
            <a:ext cx="2889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50" name="ZoneTexte 49"/>
          <p:cNvSpPr txBox="1">
            <a:spLocks noChangeArrowheads="1"/>
          </p:cNvSpPr>
          <p:nvPr/>
        </p:nvSpPr>
        <p:spPr bwMode="auto">
          <a:xfrm>
            <a:off x="1239934" y="3961886"/>
            <a:ext cx="2889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51" name="ZoneTexte 50"/>
          <p:cNvSpPr txBox="1">
            <a:spLocks noChangeArrowheads="1"/>
          </p:cNvSpPr>
          <p:nvPr/>
        </p:nvSpPr>
        <p:spPr bwMode="auto">
          <a:xfrm>
            <a:off x="1239934" y="5167661"/>
            <a:ext cx="2889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41" name="Espace réservé du texte 40"/>
          <p:cNvSpPr>
            <a:spLocks noGrp="1"/>
          </p:cNvSpPr>
          <p:nvPr>
            <p:ph type="body" sz="quarter" idx="10" hasCustomPrompt="1"/>
          </p:nvPr>
        </p:nvSpPr>
        <p:spPr>
          <a:xfrm>
            <a:off x="4984449" y="2200000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2" name="Espace réservé du texte 40"/>
          <p:cNvSpPr>
            <a:spLocks noGrp="1"/>
          </p:cNvSpPr>
          <p:nvPr>
            <p:ph type="body" sz="quarter" idx="11" hasCustomPrompt="1"/>
          </p:nvPr>
        </p:nvSpPr>
        <p:spPr>
          <a:xfrm>
            <a:off x="4984449" y="3350390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3" name="Espace réservé du texte 40"/>
          <p:cNvSpPr>
            <a:spLocks noGrp="1"/>
          </p:cNvSpPr>
          <p:nvPr>
            <p:ph type="body" sz="quarter" idx="12" hasCustomPrompt="1"/>
          </p:nvPr>
        </p:nvSpPr>
        <p:spPr>
          <a:xfrm>
            <a:off x="4984449" y="4561066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4" name="Espace réservé du texte 40"/>
          <p:cNvSpPr>
            <a:spLocks noGrp="1"/>
          </p:cNvSpPr>
          <p:nvPr>
            <p:ph type="body" sz="quarter" idx="13" hasCustomPrompt="1"/>
          </p:nvPr>
        </p:nvSpPr>
        <p:spPr>
          <a:xfrm>
            <a:off x="4984449" y="5687244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6" name="Espace réservé du texte 45"/>
          <p:cNvSpPr>
            <a:spLocks noGrp="1"/>
          </p:cNvSpPr>
          <p:nvPr>
            <p:ph type="body" sz="quarter" idx="14"/>
          </p:nvPr>
        </p:nvSpPr>
        <p:spPr>
          <a:xfrm>
            <a:off x="1744759" y="1394915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7" name="Espace réservé du texte 45"/>
          <p:cNvSpPr>
            <a:spLocks noGrp="1"/>
          </p:cNvSpPr>
          <p:nvPr>
            <p:ph type="body" sz="quarter" idx="15"/>
          </p:nvPr>
        </p:nvSpPr>
        <p:spPr>
          <a:xfrm>
            <a:off x="1744281" y="2545255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8" name="Espace réservé du texte 45"/>
          <p:cNvSpPr>
            <a:spLocks noGrp="1"/>
          </p:cNvSpPr>
          <p:nvPr>
            <p:ph type="body" sz="quarter" idx="16"/>
          </p:nvPr>
        </p:nvSpPr>
        <p:spPr>
          <a:xfrm>
            <a:off x="1744281" y="3711593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45"/>
          <p:cNvSpPr>
            <a:spLocks noGrp="1"/>
          </p:cNvSpPr>
          <p:nvPr>
            <p:ph type="body" sz="quarter" idx="17"/>
          </p:nvPr>
        </p:nvSpPr>
        <p:spPr>
          <a:xfrm>
            <a:off x="1744281" y="4880078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 hasCustomPrompt="1"/>
          </p:nvPr>
        </p:nvSpPr>
        <p:spPr>
          <a:xfrm>
            <a:off x="6443663" y="1393480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2" name="Espace réservé du contenu 3"/>
          <p:cNvSpPr>
            <a:spLocks noGrp="1"/>
          </p:cNvSpPr>
          <p:nvPr>
            <p:ph sz="quarter" idx="19" hasCustomPrompt="1"/>
          </p:nvPr>
        </p:nvSpPr>
        <p:spPr>
          <a:xfrm>
            <a:off x="6444208" y="2548149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contenu 3"/>
          <p:cNvSpPr>
            <a:spLocks noGrp="1"/>
          </p:cNvSpPr>
          <p:nvPr>
            <p:ph sz="quarter" idx="20" hasCustomPrompt="1"/>
          </p:nvPr>
        </p:nvSpPr>
        <p:spPr>
          <a:xfrm>
            <a:off x="6444753" y="3716070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Espace réservé du contenu 3"/>
          <p:cNvSpPr>
            <a:spLocks noGrp="1"/>
          </p:cNvSpPr>
          <p:nvPr>
            <p:ph sz="quarter" idx="21" hasCustomPrompt="1"/>
          </p:nvPr>
        </p:nvSpPr>
        <p:spPr>
          <a:xfrm>
            <a:off x="6445298" y="4883991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9" name="Titr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07777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6" name="Espace réservé pour une image  14"/>
          <p:cNvSpPr>
            <a:spLocks noGrp="1"/>
          </p:cNvSpPr>
          <p:nvPr>
            <p:ph type="pic" sz="quarter" idx="32" hasCustomPrompt="1"/>
          </p:nvPr>
        </p:nvSpPr>
        <p:spPr>
          <a:xfrm>
            <a:off x="771934" y="1704907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57" name="Espace réservé pour une image  14"/>
          <p:cNvSpPr>
            <a:spLocks noGrp="1"/>
          </p:cNvSpPr>
          <p:nvPr>
            <p:ph type="pic" sz="quarter" idx="51" hasCustomPrompt="1"/>
          </p:nvPr>
        </p:nvSpPr>
        <p:spPr>
          <a:xfrm>
            <a:off x="771934" y="2806242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58" name="Espace réservé pour une image  14"/>
          <p:cNvSpPr>
            <a:spLocks noGrp="1"/>
          </p:cNvSpPr>
          <p:nvPr>
            <p:ph type="pic" sz="quarter" idx="52" hasCustomPrompt="1"/>
          </p:nvPr>
        </p:nvSpPr>
        <p:spPr>
          <a:xfrm>
            <a:off x="771934" y="3994528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60" name="Espace réservé pour une image  14"/>
          <p:cNvSpPr>
            <a:spLocks noGrp="1"/>
          </p:cNvSpPr>
          <p:nvPr>
            <p:ph type="pic" sz="quarter" idx="53" hasCustomPrompt="1"/>
          </p:nvPr>
        </p:nvSpPr>
        <p:spPr>
          <a:xfrm>
            <a:off x="771934" y="5189432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cxnSp>
        <p:nvCxnSpPr>
          <p:cNvPr id="55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6686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0"/>
          <p:cNvCxnSpPr/>
          <p:nvPr/>
        </p:nvCxnSpPr>
        <p:spPr>
          <a:xfrm>
            <a:off x="715963" y="2997200"/>
            <a:ext cx="78120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715963" y="4381500"/>
            <a:ext cx="78120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982000" y="1694984"/>
            <a:ext cx="5545519" cy="1204618"/>
          </a:xfrm>
          <a:noFill/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rmAutofit/>
          </a:bodyPr>
          <a:lstStyle>
            <a:lvl1pPr marL="0" indent="0">
              <a:buNone/>
              <a:defRPr lang="fr-FR" sz="140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982000" y="3092256"/>
            <a:ext cx="5545519" cy="1204618"/>
          </a:xfr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36000" bIns="36000" anchor="ctr">
            <a:normAutofit/>
          </a:bodyPr>
          <a:lstStyle>
            <a:lvl1pPr marL="0" indent="0">
              <a:buNone/>
              <a:defRPr lang="fr-FR" sz="1400" b="1" kern="1200" dirty="0" smtClean="0">
                <a:solidFill>
                  <a:srgbClr val="0070C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982000" y="4454584"/>
            <a:ext cx="5545519" cy="1204618"/>
          </a:xfr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6000" tIns="36000" rIns="36000" bIns="36000" anchor="ctr">
            <a:normAutofit/>
          </a:bodyPr>
          <a:lstStyle>
            <a:lvl1pPr marL="0" indent="0">
              <a:buNone/>
              <a:defRPr lang="fr-FR" sz="1400" b="1" kern="1200" dirty="0" smtClean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2"/>
          <p:cNvSpPr>
            <a:spLocks noGrp="1"/>
          </p:cNvSpPr>
          <p:nvPr>
            <p:ph type="body" sz="quarter" idx="27"/>
          </p:nvPr>
        </p:nvSpPr>
        <p:spPr>
          <a:xfrm>
            <a:off x="715519" y="3092256"/>
            <a:ext cx="2160000" cy="1206000"/>
          </a:xfrm>
          <a:prstGeom prst="homePlate">
            <a:avLst>
              <a:gd name="adj" fmla="val 18126"/>
            </a:avLst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8"/>
          </p:nvPr>
        </p:nvSpPr>
        <p:spPr>
          <a:xfrm>
            <a:off x="715519" y="4454584"/>
            <a:ext cx="2160000" cy="1206000"/>
          </a:xfrm>
          <a:prstGeom prst="homePlate">
            <a:avLst>
              <a:gd name="adj" fmla="val 18126"/>
            </a:avLst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2"/>
          <p:cNvSpPr>
            <a:spLocks noGrp="1"/>
          </p:cNvSpPr>
          <p:nvPr>
            <p:ph type="body" sz="quarter" idx="29"/>
          </p:nvPr>
        </p:nvSpPr>
        <p:spPr>
          <a:xfrm>
            <a:off x="715519" y="1694984"/>
            <a:ext cx="2160000" cy="1206000"/>
          </a:xfrm>
          <a:prstGeom prst="homePlate">
            <a:avLst>
              <a:gd name="adj" fmla="val 18126"/>
            </a:avLst>
          </a:prstGeom>
          <a:gradFill>
            <a:gsLst>
              <a:gs pos="65000">
                <a:srgbClr val="742187"/>
              </a:gs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91202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065709" y="1989376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315392" y="1989376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42401" y="1989376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065709" y="3393272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315392" y="3393272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542401" y="3393272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2065709" y="4797167"/>
            <a:ext cx="2140081" cy="1224657"/>
          </a:xfrm>
          <a:solidFill>
            <a:schemeClr val="bg1">
              <a:lumMod val="95000"/>
            </a:schemeClr>
          </a:solidFill>
          <a:effectLst/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sz="1200"/>
            </a:lvl1pPr>
            <a:lvl2pPr marL="273050" indent="-133350"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315392" y="4797167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542401" y="4797167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/>
          </p:nvPr>
        </p:nvSpPr>
        <p:spPr>
          <a:xfrm>
            <a:off x="473074" y="1989376"/>
            <a:ext cx="1506638" cy="1223975"/>
          </a:xfrm>
          <a:prstGeom prst="homePlate">
            <a:avLst>
              <a:gd name="adj" fmla="val 12303"/>
            </a:avLst>
          </a:prstGeom>
          <a:gradFill>
            <a:gsLst>
              <a:gs pos="8000">
                <a:srgbClr val="757575"/>
              </a:gs>
              <a:gs pos="95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36000" bIns="36000" rtlCol="0" anchor="ctr">
            <a:noAutofit/>
          </a:bodyPr>
          <a:lstStyle>
            <a:lvl1pPr>
              <a:defRPr lang="fr-FR" sz="130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/>
          </p:nvPr>
        </p:nvSpPr>
        <p:spPr>
          <a:xfrm>
            <a:off x="473075" y="3393272"/>
            <a:ext cx="1506637" cy="1223975"/>
          </a:xfrm>
          <a:prstGeom prst="homePlate">
            <a:avLst>
              <a:gd name="adj" fmla="val 11117"/>
            </a:avLst>
          </a:prstGeom>
          <a:gradFill>
            <a:gsLst>
              <a:gs pos="8000">
                <a:srgbClr val="757575"/>
              </a:gs>
              <a:gs pos="95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36000" bIns="36000" rtlCol="0" anchor="ctr">
            <a:noAutofit/>
          </a:bodyPr>
          <a:lstStyle>
            <a:lvl1pPr>
              <a:defRPr lang="fr-FR" sz="130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/>
          </p:nvPr>
        </p:nvSpPr>
        <p:spPr>
          <a:xfrm>
            <a:off x="473075" y="4797167"/>
            <a:ext cx="1506637" cy="1223975"/>
          </a:xfrm>
          <a:prstGeom prst="homePlate">
            <a:avLst>
              <a:gd name="adj" fmla="val 10524"/>
            </a:avLst>
          </a:prstGeom>
          <a:gradFill>
            <a:gsLst>
              <a:gs pos="8000">
                <a:srgbClr val="757575"/>
              </a:gs>
              <a:gs pos="95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36000" bIns="36000" rtlCol="0" anchor="ctr">
            <a:noAutofit/>
          </a:bodyPr>
          <a:lstStyle>
            <a:lvl1pPr>
              <a:defRPr lang="fr-FR" sz="130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37"/>
          </p:nvPr>
        </p:nvSpPr>
        <p:spPr bwMode="auto">
          <a:xfrm>
            <a:off x="2065672" y="1160676"/>
            <a:ext cx="2148006" cy="71471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5014 w 10014"/>
              <a:gd name="connsiteY2" fmla="*/ 10000 h 10000"/>
              <a:gd name="connsiteX3" fmla="*/ 0 w 10014"/>
              <a:gd name="connsiteY3" fmla="*/ 7436 h 10000"/>
              <a:gd name="connsiteX4" fmla="*/ 14 w 10014"/>
              <a:gd name="connsiteY4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9862 w 10014"/>
              <a:gd name="connsiteY2" fmla="*/ 7996 h 10000"/>
              <a:gd name="connsiteX3" fmla="*/ 5014 w 10014"/>
              <a:gd name="connsiteY3" fmla="*/ 10000 h 10000"/>
              <a:gd name="connsiteX4" fmla="*/ 0 w 10014"/>
              <a:gd name="connsiteY4" fmla="*/ 7809 h 10000"/>
              <a:gd name="connsiteX5" fmla="*/ 14 w 10014"/>
              <a:gd name="connsiteY5" fmla="*/ 0 h 10000"/>
              <a:gd name="connsiteX0" fmla="*/ 14 w 10019"/>
              <a:gd name="connsiteY0" fmla="*/ 0 h 10000"/>
              <a:gd name="connsiteX1" fmla="*/ 10014 w 10019"/>
              <a:gd name="connsiteY1" fmla="*/ 0 h 10000"/>
              <a:gd name="connsiteX2" fmla="*/ 10019 w 10019"/>
              <a:gd name="connsiteY2" fmla="*/ 7809 h 10000"/>
              <a:gd name="connsiteX3" fmla="*/ 5014 w 10019"/>
              <a:gd name="connsiteY3" fmla="*/ 10000 h 10000"/>
              <a:gd name="connsiteX4" fmla="*/ 0 w 10019"/>
              <a:gd name="connsiteY4" fmla="*/ 7809 h 10000"/>
              <a:gd name="connsiteX5" fmla="*/ 14 w 10019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6" h="10001">
                <a:moveTo>
                  <a:pt x="14" y="0"/>
                </a:moveTo>
                <a:lnTo>
                  <a:pt x="10014" y="0"/>
                </a:lnTo>
                <a:cubicBezTo>
                  <a:pt x="10042" y="-69"/>
                  <a:pt x="10044" y="7695"/>
                  <a:pt x="10019" y="7809"/>
                </a:cubicBezTo>
                <a:cubicBezTo>
                  <a:pt x="10021" y="7917"/>
                  <a:pt x="4998" y="10044"/>
                  <a:pt x="5014" y="10000"/>
                </a:cubicBezTo>
                <a:cubicBezTo>
                  <a:pt x="4966" y="10079"/>
                  <a:pt x="-23" y="7789"/>
                  <a:pt x="0" y="7809"/>
                </a:cubicBezTo>
                <a:cubicBezTo>
                  <a:pt x="5" y="5330"/>
                  <a:pt x="9" y="2479"/>
                  <a:pt x="14" y="0"/>
                </a:cubicBezTo>
                <a:close/>
              </a:path>
            </a:pathLst>
          </a:custGeom>
          <a:gradFill>
            <a:gsLst>
              <a:gs pos="25000">
                <a:srgbClr val="8A27A1"/>
              </a:gs>
              <a:gs pos="98000">
                <a:schemeClr val="accent1">
                  <a:lumMod val="75000"/>
                </a:schemeClr>
              </a:gs>
              <a:gs pos="2000">
                <a:srgbClr val="992BB3"/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144000" rtlCol="0" anchor="ctr">
            <a:noAutofit/>
          </a:bodyPr>
          <a:lstStyle>
            <a:lvl1pPr algn="ctr">
              <a:defRPr lang="fr-FR" sz="130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38"/>
          </p:nvPr>
        </p:nvSpPr>
        <p:spPr bwMode="auto">
          <a:xfrm>
            <a:off x="4315392" y="1160676"/>
            <a:ext cx="2148006" cy="71471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5014 w 10014"/>
              <a:gd name="connsiteY2" fmla="*/ 10000 h 10000"/>
              <a:gd name="connsiteX3" fmla="*/ 0 w 10014"/>
              <a:gd name="connsiteY3" fmla="*/ 7436 h 10000"/>
              <a:gd name="connsiteX4" fmla="*/ 14 w 10014"/>
              <a:gd name="connsiteY4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9862 w 10014"/>
              <a:gd name="connsiteY2" fmla="*/ 7996 h 10000"/>
              <a:gd name="connsiteX3" fmla="*/ 5014 w 10014"/>
              <a:gd name="connsiteY3" fmla="*/ 10000 h 10000"/>
              <a:gd name="connsiteX4" fmla="*/ 0 w 10014"/>
              <a:gd name="connsiteY4" fmla="*/ 7809 h 10000"/>
              <a:gd name="connsiteX5" fmla="*/ 14 w 10014"/>
              <a:gd name="connsiteY5" fmla="*/ 0 h 10000"/>
              <a:gd name="connsiteX0" fmla="*/ 14 w 10019"/>
              <a:gd name="connsiteY0" fmla="*/ 0 h 10000"/>
              <a:gd name="connsiteX1" fmla="*/ 10014 w 10019"/>
              <a:gd name="connsiteY1" fmla="*/ 0 h 10000"/>
              <a:gd name="connsiteX2" fmla="*/ 10019 w 10019"/>
              <a:gd name="connsiteY2" fmla="*/ 7809 h 10000"/>
              <a:gd name="connsiteX3" fmla="*/ 5014 w 10019"/>
              <a:gd name="connsiteY3" fmla="*/ 10000 h 10000"/>
              <a:gd name="connsiteX4" fmla="*/ 0 w 10019"/>
              <a:gd name="connsiteY4" fmla="*/ 7809 h 10000"/>
              <a:gd name="connsiteX5" fmla="*/ 14 w 10019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6" h="10001">
                <a:moveTo>
                  <a:pt x="14" y="0"/>
                </a:moveTo>
                <a:lnTo>
                  <a:pt x="10014" y="0"/>
                </a:lnTo>
                <a:cubicBezTo>
                  <a:pt x="10042" y="-69"/>
                  <a:pt x="10044" y="7695"/>
                  <a:pt x="10019" y="7809"/>
                </a:cubicBezTo>
                <a:cubicBezTo>
                  <a:pt x="10021" y="7917"/>
                  <a:pt x="4998" y="10044"/>
                  <a:pt x="5014" y="10000"/>
                </a:cubicBezTo>
                <a:cubicBezTo>
                  <a:pt x="4966" y="10079"/>
                  <a:pt x="-23" y="7789"/>
                  <a:pt x="0" y="7809"/>
                </a:cubicBezTo>
                <a:cubicBezTo>
                  <a:pt x="5" y="5330"/>
                  <a:pt x="9" y="2479"/>
                  <a:pt x="14" y="0"/>
                </a:cubicBezTo>
                <a:close/>
              </a:path>
            </a:pathLst>
          </a:custGeom>
          <a:gradFill>
            <a:gsLst>
              <a:gs pos="25000">
                <a:srgbClr val="8A27A1"/>
              </a:gs>
              <a:gs pos="98000">
                <a:schemeClr val="accent1">
                  <a:lumMod val="75000"/>
                </a:schemeClr>
              </a:gs>
              <a:gs pos="2000">
                <a:srgbClr val="992BB3"/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144000" rtlCol="0" anchor="ctr">
            <a:noAutofit/>
          </a:bodyPr>
          <a:lstStyle>
            <a:lvl1pPr algn="ctr">
              <a:defRPr lang="fr-FR" sz="130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39"/>
          </p:nvPr>
        </p:nvSpPr>
        <p:spPr bwMode="auto">
          <a:xfrm>
            <a:off x="6542402" y="1160676"/>
            <a:ext cx="2148006" cy="71471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5014 w 10014"/>
              <a:gd name="connsiteY2" fmla="*/ 10000 h 10000"/>
              <a:gd name="connsiteX3" fmla="*/ 0 w 10014"/>
              <a:gd name="connsiteY3" fmla="*/ 7436 h 10000"/>
              <a:gd name="connsiteX4" fmla="*/ 14 w 10014"/>
              <a:gd name="connsiteY4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9862 w 10014"/>
              <a:gd name="connsiteY2" fmla="*/ 7996 h 10000"/>
              <a:gd name="connsiteX3" fmla="*/ 5014 w 10014"/>
              <a:gd name="connsiteY3" fmla="*/ 10000 h 10000"/>
              <a:gd name="connsiteX4" fmla="*/ 0 w 10014"/>
              <a:gd name="connsiteY4" fmla="*/ 7809 h 10000"/>
              <a:gd name="connsiteX5" fmla="*/ 14 w 10014"/>
              <a:gd name="connsiteY5" fmla="*/ 0 h 10000"/>
              <a:gd name="connsiteX0" fmla="*/ 14 w 10019"/>
              <a:gd name="connsiteY0" fmla="*/ 0 h 10000"/>
              <a:gd name="connsiteX1" fmla="*/ 10014 w 10019"/>
              <a:gd name="connsiteY1" fmla="*/ 0 h 10000"/>
              <a:gd name="connsiteX2" fmla="*/ 10019 w 10019"/>
              <a:gd name="connsiteY2" fmla="*/ 7809 h 10000"/>
              <a:gd name="connsiteX3" fmla="*/ 5014 w 10019"/>
              <a:gd name="connsiteY3" fmla="*/ 10000 h 10000"/>
              <a:gd name="connsiteX4" fmla="*/ 0 w 10019"/>
              <a:gd name="connsiteY4" fmla="*/ 7809 h 10000"/>
              <a:gd name="connsiteX5" fmla="*/ 14 w 10019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6" h="10001">
                <a:moveTo>
                  <a:pt x="14" y="0"/>
                </a:moveTo>
                <a:lnTo>
                  <a:pt x="10014" y="0"/>
                </a:lnTo>
                <a:cubicBezTo>
                  <a:pt x="10042" y="-69"/>
                  <a:pt x="10044" y="7695"/>
                  <a:pt x="10019" y="7809"/>
                </a:cubicBezTo>
                <a:cubicBezTo>
                  <a:pt x="10021" y="7917"/>
                  <a:pt x="4998" y="10044"/>
                  <a:pt x="5014" y="10000"/>
                </a:cubicBezTo>
                <a:cubicBezTo>
                  <a:pt x="4966" y="10079"/>
                  <a:pt x="-23" y="7789"/>
                  <a:pt x="0" y="7809"/>
                </a:cubicBezTo>
                <a:cubicBezTo>
                  <a:pt x="5" y="5330"/>
                  <a:pt x="9" y="2479"/>
                  <a:pt x="14" y="0"/>
                </a:cubicBezTo>
                <a:close/>
              </a:path>
            </a:pathLst>
          </a:custGeom>
          <a:gradFill>
            <a:gsLst>
              <a:gs pos="25000">
                <a:srgbClr val="8A27A1"/>
              </a:gs>
              <a:gs pos="98000">
                <a:schemeClr val="accent1">
                  <a:lumMod val="75000"/>
                </a:schemeClr>
              </a:gs>
              <a:gs pos="2000">
                <a:srgbClr val="992BB3"/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144000" rtlCol="0" anchor="ctr">
            <a:noAutofit/>
          </a:bodyPr>
          <a:lstStyle>
            <a:lvl1pPr algn="ctr">
              <a:defRPr lang="fr-FR" sz="130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392860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2438577" y="222281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4350368" y="222281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6222577" y="222281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994301" y="2222817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5" name="Espace réservé du texte 7"/>
          <p:cNvSpPr>
            <a:spLocks noGrp="1"/>
          </p:cNvSpPr>
          <p:nvPr>
            <p:ph type="body" sz="quarter" idx="38" hasCustomPrompt="1"/>
          </p:nvPr>
        </p:nvSpPr>
        <p:spPr>
          <a:xfrm>
            <a:off x="2438577" y="315665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39" hasCustomPrompt="1"/>
          </p:nvPr>
        </p:nvSpPr>
        <p:spPr>
          <a:xfrm>
            <a:off x="4350368" y="315665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7" name="Espace réservé du texte 7"/>
          <p:cNvSpPr>
            <a:spLocks noGrp="1"/>
          </p:cNvSpPr>
          <p:nvPr>
            <p:ph type="body" sz="quarter" idx="40" hasCustomPrompt="1"/>
          </p:nvPr>
        </p:nvSpPr>
        <p:spPr>
          <a:xfrm>
            <a:off x="6222577" y="315665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301" y="3156652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9" name="Espace réservé du texte 7"/>
          <p:cNvSpPr>
            <a:spLocks noGrp="1"/>
          </p:cNvSpPr>
          <p:nvPr>
            <p:ph type="body" sz="quarter" idx="42" hasCustomPrompt="1"/>
          </p:nvPr>
        </p:nvSpPr>
        <p:spPr>
          <a:xfrm>
            <a:off x="2438577" y="409048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0" name="Espace réservé du texte 7"/>
          <p:cNvSpPr>
            <a:spLocks noGrp="1"/>
          </p:cNvSpPr>
          <p:nvPr>
            <p:ph type="body" sz="quarter" idx="43" hasCustomPrompt="1"/>
          </p:nvPr>
        </p:nvSpPr>
        <p:spPr>
          <a:xfrm>
            <a:off x="4350368" y="409048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1" name="Espace réservé du texte 7"/>
          <p:cNvSpPr>
            <a:spLocks noGrp="1"/>
          </p:cNvSpPr>
          <p:nvPr>
            <p:ph type="body" sz="quarter" idx="44" hasCustomPrompt="1"/>
          </p:nvPr>
        </p:nvSpPr>
        <p:spPr>
          <a:xfrm>
            <a:off x="6222577" y="409048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2" name="Espace réservé du texte 7"/>
          <p:cNvSpPr>
            <a:spLocks noGrp="1"/>
          </p:cNvSpPr>
          <p:nvPr>
            <p:ph type="body" sz="quarter" idx="45" hasCustomPrompt="1"/>
          </p:nvPr>
        </p:nvSpPr>
        <p:spPr>
          <a:xfrm>
            <a:off x="994301" y="4090487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53" name="Espace réservé du texte 7"/>
          <p:cNvSpPr>
            <a:spLocks noGrp="1"/>
          </p:cNvSpPr>
          <p:nvPr>
            <p:ph type="body" sz="quarter" idx="46" hasCustomPrompt="1"/>
          </p:nvPr>
        </p:nvSpPr>
        <p:spPr>
          <a:xfrm>
            <a:off x="2438577" y="502432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Espace réservé du texte 7"/>
          <p:cNvSpPr>
            <a:spLocks noGrp="1"/>
          </p:cNvSpPr>
          <p:nvPr>
            <p:ph type="body" sz="quarter" idx="47" hasCustomPrompt="1"/>
          </p:nvPr>
        </p:nvSpPr>
        <p:spPr>
          <a:xfrm>
            <a:off x="4350368" y="502432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Espace réservé du texte 7"/>
          <p:cNvSpPr>
            <a:spLocks noGrp="1"/>
          </p:cNvSpPr>
          <p:nvPr>
            <p:ph type="body" sz="quarter" idx="48" hasCustomPrompt="1"/>
          </p:nvPr>
        </p:nvSpPr>
        <p:spPr>
          <a:xfrm>
            <a:off x="6222577" y="502432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6" name="Espace réservé du texte 7"/>
          <p:cNvSpPr>
            <a:spLocks noGrp="1"/>
          </p:cNvSpPr>
          <p:nvPr>
            <p:ph type="body" sz="quarter" idx="49" hasCustomPrompt="1"/>
          </p:nvPr>
        </p:nvSpPr>
        <p:spPr>
          <a:xfrm>
            <a:off x="994301" y="5024322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8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3018029" y="814536"/>
            <a:ext cx="720000" cy="1800000"/>
          </a:xfrm>
          <a:prstGeom prst="homePlate">
            <a:avLst>
              <a:gd name="adj" fmla="val 21197"/>
            </a:avLst>
          </a:prstGeom>
          <a:gradFill>
            <a:gsLst>
              <a:gs pos="95000">
                <a:schemeClr val="accent1">
                  <a:shade val="51000"/>
                  <a:satMod val="130000"/>
                </a:schemeClr>
              </a:gs>
              <a:gs pos="51000">
                <a:schemeClr val="accent1">
                  <a:shade val="93000"/>
                  <a:satMod val="130000"/>
                </a:schemeClr>
              </a:gs>
              <a:gs pos="14000">
                <a:srgbClr val="8A27A1"/>
              </a:gs>
            </a:gsLst>
            <a:lin ang="0" scaled="0"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59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4902049" y="814536"/>
            <a:ext cx="720000" cy="1800000"/>
          </a:xfrm>
          <a:prstGeom prst="homePlate">
            <a:avLst>
              <a:gd name="adj" fmla="val 21197"/>
            </a:avLst>
          </a:prstGeom>
          <a:gradFill>
            <a:gsLst>
              <a:gs pos="95000">
                <a:schemeClr val="accent1">
                  <a:shade val="51000"/>
                  <a:satMod val="130000"/>
                </a:schemeClr>
              </a:gs>
              <a:gs pos="51000">
                <a:schemeClr val="accent1">
                  <a:shade val="93000"/>
                  <a:satMod val="130000"/>
                </a:schemeClr>
              </a:gs>
              <a:gs pos="14000">
                <a:srgbClr val="8A27A1"/>
              </a:gs>
            </a:gsLst>
            <a:lin ang="0" scaled="0"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60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6786068" y="814536"/>
            <a:ext cx="720000" cy="1800000"/>
          </a:xfrm>
          <a:prstGeom prst="homePlate">
            <a:avLst>
              <a:gd name="adj" fmla="val 21197"/>
            </a:avLst>
          </a:prstGeom>
          <a:gradFill>
            <a:gsLst>
              <a:gs pos="95000">
                <a:schemeClr val="accent1">
                  <a:shade val="51000"/>
                  <a:satMod val="130000"/>
                </a:schemeClr>
              </a:gs>
              <a:gs pos="51000">
                <a:schemeClr val="accent1">
                  <a:shade val="93000"/>
                  <a:satMod val="130000"/>
                </a:schemeClr>
              </a:gs>
              <a:gs pos="14000">
                <a:srgbClr val="8A27A1"/>
              </a:gs>
            </a:gsLst>
            <a:lin ang="0" scaled="0"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cxnSp>
        <p:nvCxnSpPr>
          <p:cNvPr id="2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63290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2444401" y="212916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5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4356192" y="212916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6255400" y="212916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7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>
            <a:off x="2457451" y="1371600"/>
            <a:ext cx="1800000" cy="666751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45000">
                <a:schemeClr val="accent1"/>
              </a:gs>
              <a:gs pos="94000">
                <a:srgbClr val="8A27A1"/>
              </a:gs>
            </a:gsLst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>
            <a:off x="4364575" y="1371601"/>
            <a:ext cx="1800000" cy="666751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45000">
                <a:schemeClr val="accent1"/>
              </a:gs>
              <a:gs pos="94000">
                <a:srgbClr val="8A27A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49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6259624" y="1371600"/>
            <a:ext cx="1800000" cy="666751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45000">
                <a:schemeClr val="accent1"/>
              </a:gs>
              <a:gs pos="94000">
                <a:srgbClr val="8A27A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0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1000125" y="2129167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1" name="Espace réservé du texte 7"/>
          <p:cNvSpPr>
            <a:spLocks noGrp="1"/>
          </p:cNvSpPr>
          <p:nvPr>
            <p:ph type="body" sz="quarter" idx="38" hasCustomPrompt="1"/>
          </p:nvPr>
        </p:nvSpPr>
        <p:spPr>
          <a:xfrm>
            <a:off x="2444401" y="306300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2" name="Espace réservé du texte 7"/>
          <p:cNvSpPr>
            <a:spLocks noGrp="1"/>
          </p:cNvSpPr>
          <p:nvPr>
            <p:ph type="body" sz="quarter" idx="39" hasCustomPrompt="1"/>
          </p:nvPr>
        </p:nvSpPr>
        <p:spPr>
          <a:xfrm>
            <a:off x="4356192" y="306300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7"/>
          <p:cNvSpPr>
            <a:spLocks noGrp="1"/>
          </p:cNvSpPr>
          <p:nvPr>
            <p:ph type="body" sz="quarter" idx="40" hasCustomPrompt="1"/>
          </p:nvPr>
        </p:nvSpPr>
        <p:spPr>
          <a:xfrm>
            <a:off x="6255400" y="306300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Espace réservé du texte 7"/>
          <p:cNvSpPr>
            <a:spLocks noGrp="1"/>
          </p:cNvSpPr>
          <p:nvPr>
            <p:ph type="body" sz="quarter" idx="41" hasCustomPrompt="1"/>
          </p:nvPr>
        </p:nvSpPr>
        <p:spPr>
          <a:xfrm>
            <a:off x="1000125" y="3063002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5" name="Espace réservé du texte 7"/>
          <p:cNvSpPr>
            <a:spLocks noGrp="1"/>
          </p:cNvSpPr>
          <p:nvPr>
            <p:ph type="body" sz="quarter" idx="42" hasCustomPrompt="1"/>
          </p:nvPr>
        </p:nvSpPr>
        <p:spPr>
          <a:xfrm>
            <a:off x="2444401" y="399683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6" name="Espace réservé du texte 7"/>
          <p:cNvSpPr>
            <a:spLocks noGrp="1"/>
          </p:cNvSpPr>
          <p:nvPr>
            <p:ph type="body" sz="quarter" idx="43" hasCustomPrompt="1"/>
          </p:nvPr>
        </p:nvSpPr>
        <p:spPr>
          <a:xfrm>
            <a:off x="4356192" y="399683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7" name="Espace réservé du texte 7"/>
          <p:cNvSpPr>
            <a:spLocks noGrp="1"/>
          </p:cNvSpPr>
          <p:nvPr>
            <p:ph type="body" sz="quarter" idx="44" hasCustomPrompt="1"/>
          </p:nvPr>
        </p:nvSpPr>
        <p:spPr>
          <a:xfrm>
            <a:off x="6255400" y="399683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8" name="Espace réservé du texte 7"/>
          <p:cNvSpPr>
            <a:spLocks noGrp="1"/>
          </p:cNvSpPr>
          <p:nvPr>
            <p:ph type="body" sz="quarter" idx="45" hasCustomPrompt="1"/>
          </p:nvPr>
        </p:nvSpPr>
        <p:spPr>
          <a:xfrm>
            <a:off x="1000125" y="3996837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9" name="Espace réservé du texte 7"/>
          <p:cNvSpPr>
            <a:spLocks noGrp="1"/>
          </p:cNvSpPr>
          <p:nvPr>
            <p:ph type="body" sz="quarter" idx="46" hasCustomPrompt="1"/>
          </p:nvPr>
        </p:nvSpPr>
        <p:spPr>
          <a:xfrm>
            <a:off x="2444401" y="493067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0" name="Espace réservé du texte 7"/>
          <p:cNvSpPr>
            <a:spLocks noGrp="1"/>
          </p:cNvSpPr>
          <p:nvPr>
            <p:ph type="body" sz="quarter" idx="47" hasCustomPrompt="1"/>
          </p:nvPr>
        </p:nvSpPr>
        <p:spPr>
          <a:xfrm>
            <a:off x="4356192" y="493067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1" name="Espace réservé du texte 7"/>
          <p:cNvSpPr>
            <a:spLocks noGrp="1"/>
          </p:cNvSpPr>
          <p:nvPr>
            <p:ph type="body" sz="quarter" idx="48" hasCustomPrompt="1"/>
          </p:nvPr>
        </p:nvSpPr>
        <p:spPr>
          <a:xfrm>
            <a:off x="6255400" y="493067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2" name="Espace réservé du texte 7"/>
          <p:cNvSpPr>
            <a:spLocks noGrp="1"/>
          </p:cNvSpPr>
          <p:nvPr>
            <p:ph type="body" sz="quarter" idx="49" hasCustomPrompt="1"/>
          </p:nvPr>
        </p:nvSpPr>
        <p:spPr>
          <a:xfrm>
            <a:off x="1000125" y="4930672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2617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trice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Connecteur droit 21"/>
          <p:cNvCxnSpPr/>
          <p:nvPr/>
        </p:nvCxnSpPr>
        <p:spPr>
          <a:xfrm>
            <a:off x="433388" y="2781300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/>
        </p:nvCxnSpPr>
        <p:spPr>
          <a:xfrm>
            <a:off x="433388" y="4941888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/>
          <p:cNvCxnSpPr/>
          <p:nvPr/>
        </p:nvCxnSpPr>
        <p:spPr>
          <a:xfrm>
            <a:off x="433388" y="6021388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>
            <a:off x="433388" y="1700213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/>
        </p:nvCxnSpPr>
        <p:spPr>
          <a:xfrm>
            <a:off x="433388" y="3860800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04" y="1772568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176794" y="177281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461680" y="177281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04" y="2852688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76794" y="285293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461680" y="285293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04" y="393305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176794" y="393305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461680" y="393305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/>
          </p:nvPr>
        </p:nvSpPr>
        <p:spPr>
          <a:xfrm>
            <a:off x="1907704" y="501317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176794" y="501317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6461680" y="501317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/>
          </p:nvPr>
        </p:nvSpPr>
        <p:spPr>
          <a:xfrm>
            <a:off x="468312" y="177281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/>
          </p:nvPr>
        </p:nvSpPr>
        <p:spPr>
          <a:xfrm>
            <a:off x="468312" y="285293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/>
          </p:nvPr>
        </p:nvSpPr>
        <p:spPr>
          <a:xfrm>
            <a:off x="468312" y="393305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/>
          </p:nvPr>
        </p:nvSpPr>
        <p:spPr>
          <a:xfrm>
            <a:off x="468312" y="501317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12"/>
          <p:cNvSpPr>
            <a:spLocks noGrp="1"/>
          </p:cNvSpPr>
          <p:nvPr>
            <p:ph type="body" sz="quarter" idx="38"/>
          </p:nvPr>
        </p:nvSpPr>
        <p:spPr>
          <a:xfrm>
            <a:off x="1907704" y="1121935"/>
            <a:ext cx="2160000" cy="504000"/>
          </a:xfrm>
          <a:prstGeom prst="rect">
            <a:avLst/>
          </a:prstGeom>
          <a:gradFill>
            <a:gsLst>
              <a:gs pos="73000">
                <a:schemeClr val="accent1"/>
              </a:gs>
              <a:gs pos="0">
                <a:schemeClr val="accent1">
                  <a:lumMod val="75000"/>
                </a:schemeClr>
              </a:gs>
              <a:gs pos="100000">
                <a:srgbClr val="962BAF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algn="ctr">
              <a:defRPr lang="fr-FR" sz="13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9" name="Espace réservé du texte 12"/>
          <p:cNvSpPr>
            <a:spLocks noGrp="1"/>
          </p:cNvSpPr>
          <p:nvPr>
            <p:ph type="body" sz="quarter" idx="23"/>
          </p:nvPr>
        </p:nvSpPr>
        <p:spPr>
          <a:xfrm>
            <a:off x="4176794" y="1121935"/>
            <a:ext cx="2160000" cy="504000"/>
          </a:xfrm>
          <a:prstGeom prst="rect">
            <a:avLst/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algn="ctr">
              <a:defRPr lang="fr-FR" sz="13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6461680" y="1121935"/>
            <a:ext cx="2160000" cy="504000"/>
          </a:xfrm>
          <a:prstGeom prst="rect">
            <a:avLst/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algn="ctr">
              <a:defRPr lang="fr-FR" sz="13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24944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arme 10"/>
          <p:cNvSpPr>
            <a:spLocks/>
          </p:cNvSpPr>
          <p:nvPr/>
        </p:nvSpPr>
        <p:spPr bwMode="auto">
          <a:xfrm rot="8039833">
            <a:off x="7259638" y="4866062"/>
            <a:ext cx="180975" cy="180975"/>
          </a:xfrm>
          <a:custGeom>
            <a:avLst/>
            <a:gdLst>
              <a:gd name="T0" fmla="*/ 151039 w 2043531"/>
              <a:gd name="T1" fmla="*/ 102544 h 2013853"/>
              <a:gd name="T2" fmla="*/ 74243 w 2043531"/>
              <a:gd name="T3" fmla="*/ 180000 h 2013853"/>
              <a:gd name="T4" fmla="*/ 0 w 2043531"/>
              <a:gd name="T5" fmla="*/ 103783 h 2013853"/>
              <a:gd name="T6" fmla="*/ 0 w 2043531"/>
              <a:gd name="T7" fmla="*/ 103783 h 2013853"/>
              <a:gd name="T8" fmla="*/ 78019 w 2043531"/>
              <a:gd name="T9" fmla="*/ 24604 h 2013853"/>
              <a:gd name="T10" fmla="*/ 180000 w 2043531"/>
              <a:gd name="T11" fmla="*/ 0 h 2013853"/>
              <a:gd name="T12" fmla="*/ 151039 w 2043531"/>
              <a:gd name="T13" fmla="*/ 102544 h 201385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43531" h="2013853">
                <a:moveTo>
                  <a:pt x="1714736" y="1147270"/>
                </a:moveTo>
                <a:cubicBezTo>
                  <a:pt x="1650155" y="1580687"/>
                  <a:pt x="1308384" y="2013853"/>
                  <a:pt x="842876" y="2013853"/>
                </a:cubicBezTo>
                <a:cubicBezTo>
                  <a:pt x="377368" y="2013853"/>
                  <a:pt x="0" y="1632077"/>
                  <a:pt x="0" y="1161133"/>
                </a:cubicBezTo>
                <a:lnTo>
                  <a:pt x="1" y="1161133"/>
                </a:lnTo>
                <a:cubicBezTo>
                  <a:pt x="1" y="690189"/>
                  <a:pt x="358175" y="369943"/>
                  <a:pt x="885750" y="275267"/>
                </a:cubicBezTo>
                <a:lnTo>
                  <a:pt x="2043531" y="0"/>
                </a:lnTo>
                <a:lnTo>
                  <a:pt x="1714736" y="1147270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fr-FR"/>
          </a:p>
        </p:txBody>
      </p:sp>
      <p:sp>
        <p:nvSpPr>
          <p:cNvPr id="16" name="Larme 10"/>
          <p:cNvSpPr/>
          <p:nvPr/>
        </p:nvSpPr>
        <p:spPr>
          <a:xfrm rot="8039833">
            <a:off x="7260432" y="5298655"/>
            <a:ext cx="179388" cy="180975"/>
          </a:xfrm>
          <a:custGeom>
            <a:avLst/>
            <a:gdLst>
              <a:gd name="connsiteX0" fmla="*/ 0 w 1685751"/>
              <a:gd name="connsiteY0" fmla="*/ 852720 h 1705440"/>
              <a:gd name="connsiteX1" fmla="*/ 842876 w 1685751"/>
              <a:gd name="connsiteY1" fmla="*/ 0 h 1705440"/>
              <a:gd name="connsiteX2" fmla="*/ 1685751 w 1685751"/>
              <a:gd name="connsiteY2" fmla="*/ 0 h 1705440"/>
              <a:gd name="connsiteX3" fmla="*/ 1685751 w 1685751"/>
              <a:gd name="connsiteY3" fmla="*/ 852720 h 1705440"/>
              <a:gd name="connsiteX4" fmla="*/ 842875 w 1685751"/>
              <a:gd name="connsiteY4" fmla="*/ 1705440 h 1705440"/>
              <a:gd name="connsiteX5" fmla="*/ -1 w 1685751"/>
              <a:gd name="connsiteY5" fmla="*/ 852720 h 1705440"/>
              <a:gd name="connsiteX6" fmla="*/ 0 w 1685751"/>
              <a:gd name="connsiteY6" fmla="*/ 852720 h 1705440"/>
              <a:gd name="connsiteX0" fmla="*/ 1 w 1685773"/>
              <a:gd name="connsiteY0" fmla="*/ 852720 h 1705440"/>
              <a:gd name="connsiteX1" fmla="*/ 842877 w 1685773"/>
              <a:gd name="connsiteY1" fmla="*/ 0 h 1705440"/>
              <a:gd name="connsiteX2" fmla="*/ 1685752 w 1685773"/>
              <a:gd name="connsiteY2" fmla="*/ 0 h 1705440"/>
              <a:gd name="connsiteX3" fmla="*/ 1683690 w 1685773"/>
              <a:gd name="connsiteY3" fmla="*/ 591680 h 1705440"/>
              <a:gd name="connsiteX4" fmla="*/ 1685752 w 1685773"/>
              <a:gd name="connsiteY4" fmla="*/ 852720 h 1705440"/>
              <a:gd name="connsiteX5" fmla="*/ 842876 w 1685773"/>
              <a:gd name="connsiteY5" fmla="*/ 1705440 h 1705440"/>
              <a:gd name="connsiteX6" fmla="*/ 0 w 1685773"/>
              <a:gd name="connsiteY6" fmla="*/ 852720 h 1705440"/>
              <a:gd name="connsiteX7" fmla="*/ 1 w 1685773"/>
              <a:gd name="connsiteY7" fmla="*/ 852720 h 1705440"/>
              <a:gd name="connsiteX0" fmla="*/ 1 w 2050188"/>
              <a:gd name="connsiteY0" fmla="*/ 1148125 h 2000845"/>
              <a:gd name="connsiteX1" fmla="*/ 842877 w 2050188"/>
              <a:gd name="connsiteY1" fmla="*/ 295405 h 2000845"/>
              <a:gd name="connsiteX2" fmla="*/ 2050188 w 2050188"/>
              <a:gd name="connsiteY2" fmla="*/ 0 h 2000845"/>
              <a:gd name="connsiteX3" fmla="*/ 1683690 w 2050188"/>
              <a:gd name="connsiteY3" fmla="*/ 887085 h 2000845"/>
              <a:gd name="connsiteX4" fmla="*/ 1685752 w 2050188"/>
              <a:gd name="connsiteY4" fmla="*/ 1148125 h 2000845"/>
              <a:gd name="connsiteX5" fmla="*/ 842876 w 2050188"/>
              <a:gd name="connsiteY5" fmla="*/ 2000845 h 2000845"/>
              <a:gd name="connsiteX6" fmla="*/ 0 w 2050188"/>
              <a:gd name="connsiteY6" fmla="*/ 1148125 h 2000845"/>
              <a:gd name="connsiteX7" fmla="*/ 1 w 2050188"/>
              <a:gd name="connsiteY7" fmla="*/ 1148125 h 2000845"/>
              <a:gd name="connsiteX0" fmla="*/ 1 w 2050188"/>
              <a:gd name="connsiteY0" fmla="*/ 1148125 h 2000845"/>
              <a:gd name="connsiteX1" fmla="*/ 842877 w 2050188"/>
              <a:gd name="connsiteY1" fmla="*/ 295405 h 2000845"/>
              <a:gd name="connsiteX2" fmla="*/ 2050188 w 2050188"/>
              <a:gd name="connsiteY2" fmla="*/ 0 h 2000845"/>
              <a:gd name="connsiteX3" fmla="*/ 1853939 w 2050188"/>
              <a:gd name="connsiteY3" fmla="*/ 807434 h 2000845"/>
              <a:gd name="connsiteX4" fmla="*/ 1685752 w 2050188"/>
              <a:gd name="connsiteY4" fmla="*/ 1148125 h 2000845"/>
              <a:gd name="connsiteX5" fmla="*/ 842876 w 2050188"/>
              <a:gd name="connsiteY5" fmla="*/ 2000845 h 2000845"/>
              <a:gd name="connsiteX6" fmla="*/ 0 w 2050188"/>
              <a:gd name="connsiteY6" fmla="*/ 1148125 h 2000845"/>
              <a:gd name="connsiteX7" fmla="*/ 1 w 2050188"/>
              <a:gd name="connsiteY7" fmla="*/ 1148125 h 2000845"/>
              <a:gd name="connsiteX0" fmla="*/ 1 w 2050188"/>
              <a:gd name="connsiteY0" fmla="*/ 1148125 h 2000845"/>
              <a:gd name="connsiteX1" fmla="*/ 842877 w 2050188"/>
              <a:gd name="connsiteY1" fmla="*/ 295405 h 2000845"/>
              <a:gd name="connsiteX2" fmla="*/ 2050188 w 2050188"/>
              <a:gd name="connsiteY2" fmla="*/ 0 h 2000845"/>
              <a:gd name="connsiteX3" fmla="*/ 1853939 w 2050188"/>
              <a:gd name="connsiteY3" fmla="*/ 807434 h 2000845"/>
              <a:gd name="connsiteX4" fmla="*/ 1714736 w 2050188"/>
              <a:gd name="connsiteY4" fmla="*/ 1134262 h 2000845"/>
              <a:gd name="connsiteX5" fmla="*/ 842876 w 2050188"/>
              <a:gd name="connsiteY5" fmla="*/ 2000845 h 2000845"/>
              <a:gd name="connsiteX6" fmla="*/ 0 w 2050188"/>
              <a:gd name="connsiteY6" fmla="*/ 1148125 h 2000845"/>
              <a:gd name="connsiteX7" fmla="*/ 1 w 2050188"/>
              <a:gd name="connsiteY7" fmla="*/ 1148125 h 2000845"/>
              <a:gd name="connsiteX0" fmla="*/ 1 w 2090463"/>
              <a:gd name="connsiteY0" fmla="*/ 1148125 h 2000845"/>
              <a:gd name="connsiteX1" fmla="*/ 842877 w 2090463"/>
              <a:gd name="connsiteY1" fmla="*/ 295405 h 2000845"/>
              <a:gd name="connsiteX2" fmla="*/ 2050188 w 2090463"/>
              <a:gd name="connsiteY2" fmla="*/ 0 h 2000845"/>
              <a:gd name="connsiteX3" fmla="*/ 1714736 w 2090463"/>
              <a:gd name="connsiteY3" fmla="*/ 1134262 h 2000845"/>
              <a:gd name="connsiteX4" fmla="*/ 842876 w 2090463"/>
              <a:gd name="connsiteY4" fmla="*/ 2000845 h 2000845"/>
              <a:gd name="connsiteX5" fmla="*/ 0 w 2090463"/>
              <a:gd name="connsiteY5" fmla="*/ 1148125 h 2000845"/>
              <a:gd name="connsiteX6" fmla="*/ 1 w 2090463"/>
              <a:gd name="connsiteY6" fmla="*/ 1148125 h 2000845"/>
              <a:gd name="connsiteX0" fmla="*/ 1 w 1714736"/>
              <a:gd name="connsiteY0" fmla="*/ 852720 h 1705440"/>
              <a:gd name="connsiteX1" fmla="*/ 842877 w 1714736"/>
              <a:gd name="connsiteY1" fmla="*/ 0 h 1705440"/>
              <a:gd name="connsiteX2" fmla="*/ 1714736 w 1714736"/>
              <a:gd name="connsiteY2" fmla="*/ 838857 h 1705440"/>
              <a:gd name="connsiteX3" fmla="*/ 842876 w 1714736"/>
              <a:gd name="connsiteY3" fmla="*/ 1705440 h 1705440"/>
              <a:gd name="connsiteX4" fmla="*/ 0 w 1714736"/>
              <a:gd name="connsiteY4" fmla="*/ 852720 h 1705440"/>
              <a:gd name="connsiteX5" fmla="*/ 1 w 1714736"/>
              <a:gd name="connsiteY5" fmla="*/ 852720 h 1705440"/>
              <a:gd name="connsiteX0" fmla="*/ 1 w 2049879"/>
              <a:gd name="connsiteY0" fmla="*/ 1174890 h 2027610"/>
              <a:gd name="connsiteX1" fmla="*/ 842877 w 2049879"/>
              <a:gd name="connsiteY1" fmla="*/ 322170 h 2027610"/>
              <a:gd name="connsiteX2" fmla="*/ 1714736 w 2049879"/>
              <a:gd name="connsiteY2" fmla="*/ 1161027 h 2027610"/>
              <a:gd name="connsiteX3" fmla="*/ 842876 w 2049879"/>
              <a:gd name="connsiteY3" fmla="*/ 2027610 h 2027610"/>
              <a:gd name="connsiteX4" fmla="*/ 0 w 2049879"/>
              <a:gd name="connsiteY4" fmla="*/ 1174890 h 2027610"/>
              <a:gd name="connsiteX5" fmla="*/ 1 w 2049879"/>
              <a:gd name="connsiteY5" fmla="*/ 1174890 h 2027610"/>
              <a:gd name="connsiteX0" fmla="*/ 1714736 w 1714736"/>
              <a:gd name="connsiteY0" fmla="*/ 761038 h 1627621"/>
              <a:gd name="connsiteX1" fmla="*/ 842876 w 1714736"/>
              <a:gd name="connsiteY1" fmla="*/ 1627621 h 1627621"/>
              <a:gd name="connsiteX2" fmla="*/ 0 w 1714736"/>
              <a:gd name="connsiteY2" fmla="*/ 774901 h 1627621"/>
              <a:gd name="connsiteX3" fmla="*/ 1 w 1714736"/>
              <a:gd name="connsiteY3" fmla="*/ 774901 h 1627621"/>
              <a:gd name="connsiteX4" fmla="*/ 934317 w 1714736"/>
              <a:gd name="connsiteY4" fmla="*/ 13621 h 1627621"/>
              <a:gd name="connsiteX0" fmla="*/ 1714736 w 1714736"/>
              <a:gd name="connsiteY0" fmla="*/ 882795 h 1749378"/>
              <a:gd name="connsiteX1" fmla="*/ 842876 w 1714736"/>
              <a:gd name="connsiteY1" fmla="*/ 1749378 h 1749378"/>
              <a:gd name="connsiteX2" fmla="*/ 0 w 1714736"/>
              <a:gd name="connsiteY2" fmla="*/ 896658 h 1749378"/>
              <a:gd name="connsiteX3" fmla="*/ 1 w 1714736"/>
              <a:gd name="connsiteY3" fmla="*/ 896658 h 1749378"/>
              <a:gd name="connsiteX4" fmla="*/ 885750 w 1714736"/>
              <a:gd name="connsiteY4" fmla="*/ 10792 h 1749378"/>
              <a:gd name="connsiteX0" fmla="*/ 1714736 w 1714736"/>
              <a:gd name="connsiteY0" fmla="*/ 872003 h 1738586"/>
              <a:gd name="connsiteX1" fmla="*/ 842876 w 1714736"/>
              <a:gd name="connsiteY1" fmla="*/ 1738586 h 1738586"/>
              <a:gd name="connsiteX2" fmla="*/ 0 w 1714736"/>
              <a:gd name="connsiteY2" fmla="*/ 885866 h 1738586"/>
              <a:gd name="connsiteX3" fmla="*/ 1 w 1714736"/>
              <a:gd name="connsiteY3" fmla="*/ 885866 h 1738586"/>
              <a:gd name="connsiteX4" fmla="*/ 885750 w 1714736"/>
              <a:gd name="connsiteY4" fmla="*/ 0 h 1738586"/>
              <a:gd name="connsiteX0" fmla="*/ 1714736 w 1714736"/>
              <a:gd name="connsiteY0" fmla="*/ 872003 h 1738586"/>
              <a:gd name="connsiteX1" fmla="*/ 842876 w 1714736"/>
              <a:gd name="connsiteY1" fmla="*/ 1738586 h 1738586"/>
              <a:gd name="connsiteX2" fmla="*/ 0 w 1714736"/>
              <a:gd name="connsiteY2" fmla="*/ 885866 h 1738586"/>
              <a:gd name="connsiteX3" fmla="*/ 1 w 1714736"/>
              <a:gd name="connsiteY3" fmla="*/ 885866 h 1738586"/>
              <a:gd name="connsiteX4" fmla="*/ 885750 w 1714736"/>
              <a:gd name="connsiteY4" fmla="*/ 0 h 1738586"/>
              <a:gd name="connsiteX0" fmla="*/ 1714736 w 1714736"/>
              <a:gd name="connsiteY0" fmla="*/ 938919 h 1805502"/>
              <a:gd name="connsiteX1" fmla="*/ 842876 w 1714736"/>
              <a:gd name="connsiteY1" fmla="*/ 1805502 h 1805502"/>
              <a:gd name="connsiteX2" fmla="*/ 0 w 1714736"/>
              <a:gd name="connsiteY2" fmla="*/ 952782 h 1805502"/>
              <a:gd name="connsiteX3" fmla="*/ 1 w 1714736"/>
              <a:gd name="connsiteY3" fmla="*/ 952782 h 1805502"/>
              <a:gd name="connsiteX4" fmla="*/ 885750 w 1714736"/>
              <a:gd name="connsiteY4" fmla="*/ 66916 h 1805502"/>
              <a:gd name="connsiteX5" fmla="*/ 886315 w 1714736"/>
              <a:gd name="connsiteY5" fmla="*/ 62447 h 1805502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6" fmla="*/ 1714736 w 2043531"/>
              <a:gd name="connsiteY6" fmla="*/ 1147270 h 201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3531" h="2013853">
                <a:moveTo>
                  <a:pt x="1714736" y="1147270"/>
                </a:moveTo>
                <a:cubicBezTo>
                  <a:pt x="1650155" y="1580687"/>
                  <a:pt x="1308384" y="2013853"/>
                  <a:pt x="842876" y="2013853"/>
                </a:cubicBezTo>
                <a:cubicBezTo>
                  <a:pt x="377368" y="2013853"/>
                  <a:pt x="0" y="1632077"/>
                  <a:pt x="0" y="1161133"/>
                </a:cubicBezTo>
                <a:lnTo>
                  <a:pt x="1" y="1161133"/>
                </a:lnTo>
                <a:cubicBezTo>
                  <a:pt x="1" y="690189"/>
                  <a:pt x="358175" y="369943"/>
                  <a:pt x="885750" y="275267"/>
                </a:cubicBezTo>
                <a:lnTo>
                  <a:pt x="2043531" y="0"/>
                </a:lnTo>
                <a:lnTo>
                  <a:pt x="1714736" y="114727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Larme 10"/>
          <p:cNvSpPr>
            <a:spLocks/>
          </p:cNvSpPr>
          <p:nvPr/>
        </p:nvSpPr>
        <p:spPr bwMode="auto">
          <a:xfrm rot="8039833">
            <a:off x="7260432" y="5736805"/>
            <a:ext cx="179388" cy="180975"/>
          </a:xfrm>
          <a:custGeom>
            <a:avLst/>
            <a:gdLst>
              <a:gd name="T0" fmla="*/ 151039 w 2043531"/>
              <a:gd name="T1" fmla="*/ 102544 h 2013853"/>
              <a:gd name="T2" fmla="*/ 74243 w 2043531"/>
              <a:gd name="T3" fmla="*/ 180000 h 2013853"/>
              <a:gd name="T4" fmla="*/ 0 w 2043531"/>
              <a:gd name="T5" fmla="*/ 103783 h 2013853"/>
              <a:gd name="T6" fmla="*/ 0 w 2043531"/>
              <a:gd name="T7" fmla="*/ 103783 h 2013853"/>
              <a:gd name="T8" fmla="*/ 78019 w 2043531"/>
              <a:gd name="T9" fmla="*/ 24604 h 2013853"/>
              <a:gd name="T10" fmla="*/ 180000 w 2043531"/>
              <a:gd name="T11" fmla="*/ 0 h 2013853"/>
              <a:gd name="T12" fmla="*/ 151039 w 2043531"/>
              <a:gd name="T13" fmla="*/ 102544 h 201385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43531" h="2013853">
                <a:moveTo>
                  <a:pt x="1714736" y="1147270"/>
                </a:moveTo>
                <a:cubicBezTo>
                  <a:pt x="1650155" y="1580687"/>
                  <a:pt x="1308384" y="2013853"/>
                  <a:pt x="842876" y="2013853"/>
                </a:cubicBezTo>
                <a:cubicBezTo>
                  <a:pt x="377368" y="2013853"/>
                  <a:pt x="0" y="1632077"/>
                  <a:pt x="0" y="1161133"/>
                </a:cubicBezTo>
                <a:lnTo>
                  <a:pt x="1" y="1161133"/>
                </a:lnTo>
                <a:cubicBezTo>
                  <a:pt x="1" y="690189"/>
                  <a:pt x="358175" y="369943"/>
                  <a:pt x="885750" y="275267"/>
                </a:cubicBezTo>
                <a:lnTo>
                  <a:pt x="2043531" y="0"/>
                </a:lnTo>
                <a:lnTo>
                  <a:pt x="1714736" y="1147270"/>
                </a:lnTo>
                <a:close/>
              </a:path>
            </a:pathLst>
          </a:custGeom>
          <a:solidFill>
            <a:srgbClr val="027FBE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7493353" y="4799808"/>
            <a:ext cx="1440161" cy="36003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216000" bIns="45714" anchor="ctr">
            <a:noAutofit/>
          </a:bodyPr>
          <a:lstStyle>
            <a:lvl1pPr marL="0" indent="0" algn="l">
              <a:buNone/>
              <a:defRPr lang="fr-FR" sz="1050" b="0" dirty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7493353" y="5231856"/>
            <a:ext cx="1440161" cy="36003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216000" bIns="45714" anchor="ctr">
            <a:noAutofit/>
          </a:bodyPr>
          <a:lstStyle>
            <a:lvl1pPr marL="0" indent="0" algn="l">
              <a:buNone/>
              <a:defRPr lang="fr-FR" sz="1050" b="0" dirty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7493353" y="5663904"/>
            <a:ext cx="1440161" cy="36003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216000" bIns="45714" anchor="ctr">
            <a:noAutofit/>
          </a:bodyPr>
          <a:lstStyle>
            <a:lvl1pPr marL="0" indent="0" algn="l">
              <a:buNone/>
              <a:defRPr lang="fr-FR" sz="1050" b="0" dirty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6" name="Espace réservé du texte 11"/>
          <p:cNvSpPr>
            <a:spLocks noGrp="1"/>
          </p:cNvSpPr>
          <p:nvPr>
            <p:ph type="body" sz="quarter" idx="39"/>
          </p:nvPr>
        </p:nvSpPr>
        <p:spPr>
          <a:xfrm rot="8100000">
            <a:off x="5614866" y="1337887"/>
            <a:ext cx="1620000" cy="1584000"/>
          </a:xfrm>
          <a:prstGeom prst="teardrop">
            <a:avLst>
              <a:gd name="adj" fmla="val 165515"/>
            </a:avLst>
          </a:prstGeom>
          <a:solidFill>
            <a:srgbClr val="027FBE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7" name="Espace réservé du texte 11"/>
          <p:cNvSpPr>
            <a:spLocks noGrp="1"/>
          </p:cNvSpPr>
          <p:nvPr>
            <p:ph type="body" sz="quarter" idx="40"/>
          </p:nvPr>
        </p:nvSpPr>
        <p:spPr bwMode="auto">
          <a:xfrm>
            <a:off x="5613007" y="1334906"/>
            <a:ext cx="1630106" cy="2016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540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8" name="Espace réservé du texte 11"/>
          <p:cNvSpPr>
            <a:spLocks noGrp="1"/>
          </p:cNvSpPr>
          <p:nvPr>
            <p:ph type="body" sz="quarter" idx="41"/>
          </p:nvPr>
        </p:nvSpPr>
        <p:spPr>
          <a:xfrm rot="8100000">
            <a:off x="1185540" y="1350823"/>
            <a:ext cx="1620000" cy="1584000"/>
          </a:xfrm>
          <a:prstGeom prst="teardrop">
            <a:avLst>
              <a:gd name="adj" fmla="val 165515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42"/>
          </p:nvPr>
        </p:nvSpPr>
        <p:spPr bwMode="auto">
          <a:xfrm>
            <a:off x="1166209" y="1347843"/>
            <a:ext cx="1630106" cy="2016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540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Espace réservé du texte 11"/>
          <p:cNvSpPr>
            <a:spLocks noGrp="1"/>
          </p:cNvSpPr>
          <p:nvPr>
            <p:ph type="body" sz="quarter" idx="43"/>
          </p:nvPr>
        </p:nvSpPr>
        <p:spPr>
          <a:xfrm rot="8100000">
            <a:off x="3349294" y="2436852"/>
            <a:ext cx="1620000" cy="1584000"/>
          </a:xfrm>
          <a:prstGeom prst="teardrop">
            <a:avLst>
              <a:gd name="adj" fmla="val 165515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Espace réservé du texte 11"/>
          <p:cNvSpPr>
            <a:spLocks noGrp="1"/>
          </p:cNvSpPr>
          <p:nvPr>
            <p:ph type="body" sz="quarter" idx="44"/>
          </p:nvPr>
        </p:nvSpPr>
        <p:spPr bwMode="auto">
          <a:xfrm>
            <a:off x="3347435" y="2445520"/>
            <a:ext cx="1630106" cy="201747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540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Espace réservé du texte 11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1520664" y="3940589"/>
            <a:ext cx="864096" cy="1068653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6000" b="1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3702080" y="5049142"/>
            <a:ext cx="864096" cy="1068653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6000" b="1" dirty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54" name="Espace réservé du texte 11"/>
          <p:cNvSpPr>
            <a:spLocks noGrp="1"/>
          </p:cNvSpPr>
          <p:nvPr>
            <p:ph type="body" sz="quarter" idx="47" hasCustomPrompt="1"/>
          </p:nvPr>
        </p:nvSpPr>
        <p:spPr bwMode="auto">
          <a:xfrm>
            <a:off x="5971392" y="3929809"/>
            <a:ext cx="864096" cy="1068653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6000" b="1" dirty="0">
                <a:solidFill>
                  <a:srgbClr val="027FBE"/>
                </a:solidFill>
                <a:effectLst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cxnSp>
        <p:nvCxnSpPr>
          <p:cNvPr id="18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40554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2699792" y="1340768"/>
            <a:ext cx="2880320" cy="10800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2699792" y="2512607"/>
            <a:ext cx="3456384" cy="108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699792" y="3691615"/>
            <a:ext cx="4032448" cy="1080000"/>
          </a:xfrm>
          <a:prstGeom prst="homePlate">
            <a:avLst/>
          </a:pr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699792" y="4866453"/>
            <a:ext cx="4608512" cy="10800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 rot="16200000">
            <a:off x="1556254" y="1548203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 rot="16200000">
            <a:off x="1556253" y="2720042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 rot="16200000">
            <a:off x="1556253" y="3899050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11"/>
          <p:cNvSpPr>
            <a:spLocks noGrp="1"/>
          </p:cNvSpPr>
          <p:nvPr>
            <p:ph type="body" sz="quarter" idx="35"/>
          </p:nvPr>
        </p:nvSpPr>
        <p:spPr bwMode="auto">
          <a:xfrm rot="16200000">
            <a:off x="1556253" y="5073888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546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_ octog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9779" y="465936"/>
            <a:ext cx="8293992" cy="30285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 flipH="1">
            <a:off x="2244926" y="1718140"/>
            <a:ext cx="5495426" cy="54165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>
            <a:off x="1475656" y="1046375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 flipH="1">
            <a:off x="2244926" y="2709317"/>
            <a:ext cx="5495426" cy="54165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>
            <a:off x="1475656" y="2037552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1"/>
          <p:cNvSpPr>
            <a:spLocks noGrp="1"/>
          </p:cNvSpPr>
          <p:nvPr>
            <p:ph type="body" sz="quarter" idx="35"/>
          </p:nvPr>
        </p:nvSpPr>
        <p:spPr bwMode="auto">
          <a:xfrm flipH="1">
            <a:off x="2244926" y="3705646"/>
            <a:ext cx="5495426" cy="541650"/>
          </a:xfrm>
          <a:prstGeom prst="homePlate">
            <a:avLst/>
          </a:prstGeom>
          <a:solidFill>
            <a:srgbClr val="A72FC3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36"/>
          </p:nvPr>
        </p:nvSpPr>
        <p:spPr bwMode="auto">
          <a:xfrm>
            <a:off x="1475656" y="3033881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rgbClr val="A72FC3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1"/>
          <p:cNvSpPr>
            <a:spLocks noGrp="1"/>
          </p:cNvSpPr>
          <p:nvPr>
            <p:ph type="body" sz="quarter" idx="37"/>
          </p:nvPr>
        </p:nvSpPr>
        <p:spPr bwMode="auto">
          <a:xfrm flipH="1">
            <a:off x="2244926" y="4696823"/>
            <a:ext cx="5495426" cy="54165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11"/>
          <p:cNvSpPr>
            <a:spLocks noGrp="1"/>
          </p:cNvSpPr>
          <p:nvPr>
            <p:ph type="body" sz="quarter" idx="38"/>
          </p:nvPr>
        </p:nvSpPr>
        <p:spPr bwMode="auto">
          <a:xfrm>
            <a:off x="1475656" y="4025058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Espace réservé du texte 11"/>
          <p:cNvSpPr>
            <a:spLocks noGrp="1"/>
          </p:cNvSpPr>
          <p:nvPr>
            <p:ph type="body" sz="quarter" idx="39"/>
          </p:nvPr>
        </p:nvSpPr>
        <p:spPr bwMode="auto">
          <a:xfrm flipH="1">
            <a:off x="2244926" y="5684941"/>
            <a:ext cx="5495426" cy="54165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40"/>
          </p:nvPr>
        </p:nvSpPr>
        <p:spPr bwMode="auto">
          <a:xfrm>
            <a:off x="1475656" y="5013176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898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77.xml"/><Relationship Id="rId63" Type="http://schemas.openxmlformats.org/officeDocument/2006/relationships/slideLayout" Target="../slideLayouts/slideLayout93.xml"/><Relationship Id="rId68" Type="http://schemas.openxmlformats.org/officeDocument/2006/relationships/slideLayout" Target="../slideLayouts/slideLayout98.xml"/><Relationship Id="rId84" Type="http://schemas.openxmlformats.org/officeDocument/2006/relationships/slideLayout" Target="../slideLayouts/slideLayout114.xml"/><Relationship Id="rId89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67.xml"/><Relationship Id="rId53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88.xml"/><Relationship Id="rId74" Type="http://schemas.openxmlformats.org/officeDocument/2006/relationships/slideLayout" Target="../slideLayouts/slideLayout104.xml"/><Relationship Id="rId79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35.xml"/><Relationship Id="rId90" Type="http://schemas.openxmlformats.org/officeDocument/2006/relationships/theme" Target="../theme/theme2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65.xml"/><Relationship Id="rId43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78.xml"/><Relationship Id="rId56" Type="http://schemas.openxmlformats.org/officeDocument/2006/relationships/slideLayout" Target="../slideLayouts/slideLayout86.xml"/><Relationship Id="rId64" Type="http://schemas.openxmlformats.org/officeDocument/2006/relationships/slideLayout" Target="../slideLayouts/slideLayout94.xml"/><Relationship Id="rId69" Type="http://schemas.openxmlformats.org/officeDocument/2006/relationships/slideLayout" Target="../slideLayouts/slideLayout99.xml"/><Relationship Id="rId77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38.xml"/><Relationship Id="rId51" Type="http://schemas.openxmlformats.org/officeDocument/2006/relationships/slideLayout" Target="../slideLayouts/slideLayout81.xml"/><Relationship Id="rId72" Type="http://schemas.openxmlformats.org/officeDocument/2006/relationships/slideLayout" Target="../slideLayouts/slideLayout102.xml"/><Relationship Id="rId80" Type="http://schemas.openxmlformats.org/officeDocument/2006/relationships/slideLayout" Target="../slideLayouts/slideLayout110.xml"/><Relationship Id="rId85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68.xml"/><Relationship Id="rId46" Type="http://schemas.openxmlformats.org/officeDocument/2006/relationships/slideLayout" Target="../slideLayouts/slideLayout76.xml"/><Relationship Id="rId59" Type="http://schemas.openxmlformats.org/officeDocument/2006/relationships/slideLayout" Target="../slideLayouts/slideLayout89.xml"/><Relationship Id="rId67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50.xml"/><Relationship Id="rId41" Type="http://schemas.openxmlformats.org/officeDocument/2006/relationships/slideLayout" Target="../slideLayouts/slideLayout71.xml"/><Relationship Id="rId54" Type="http://schemas.openxmlformats.org/officeDocument/2006/relationships/slideLayout" Target="../slideLayouts/slideLayout84.xml"/><Relationship Id="rId62" Type="http://schemas.openxmlformats.org/officeDocument/2006/relationships/slideLayout" Target="../slideLayouts/slideLayout92.xml"/><Relationship Id="rId70" Type="http://schemas.openxmlformats.org/officeDocument/2006/relationships/slideLayout" Target="../slideLayouts/slideLayout100.xml"/><Relationship Id="rId75" Type="http://schemas.openxmlformats.org/officeDocument/2006/relationships/slideLayout" Target="../slideLayouts/slideLayout105.xml"/><Relationship Id="rId83" Type="http://schemas.openxmlformats.org/officeDocument/2006/relationships/slideLayout" Target="../slideLayouts/slideLayout113.xml"/><Relationship Id="rId88" Type="http://schemas.openxmlformats.org/officeDocument/2006/relationships/slideLayout" Target="../slideLayouts/slideLayout118.xml"/><Relationship Id="rId91" Type="http://schemas.openxmlformats.org/officeDocument/2006/relationships/image" Target="../media/image1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slideLayout" Target="../slideLayouts/slideLayout66.xml"/><Relationship Id="rId49" Type="http://schemas.openxmlformats.org/officeDocument/2006/relationships/slideLayout" Target="../slideLayouts/slideLayout79.xml"/><Relationship Id="rId57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61.xml"/><Relationship Id="rId44" Type="http://schemas.openxmlformats.org/officeDocument/2006/relationships/slideLayout" Target="../slideLayouts/slideLayout74.xml"/><Relationship Id="rId52" Type="http://schemas.openxmlformats.org/officeDocument/2006/relationships/slideLayout" Target="../slideLayouts/slideLayout82.xml"/><Relationship Id="rId60" Type="http://schemas.openxmlformats.org/officeDocument/2006/relationships/slideLayout" Target="../slideLayouts/slideLayout90.xml"/><Relationship Id="rId65" Type="http://schemas.openxmlformats.org/officeDocument/2006/relationships/slideLayout" Target="../slideLayouts/slideLayout95.xml"/><Relationship Id="rId73" Type="http://schemas.openxmlformats.org/officeDocument/2006/relationships/slideLayout" Target="../slideLayouts/slideLayout103.xml"/><Relationship Id="rId78" Type="http://schemas.openxmlformats.org/officeDocument/2006/relationships/slideLayout" Target="../slideLayouts/slideLayout108.xml"/><Relationship Id="rId81" Type="http://schemas.openxmlformats.org/officeDocument/2006/relationships/slideLayout" Target="../slideLayouts/slideLayout111.xml"/><Relationship Id="rId86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9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80.xml"/><Relationship Id="rId55" Type="http://schemas.openxmlformats.org/officeDocument/2006/relationships/slideLayout" Target="../slideLayouts/slideLayout85.xml"/><Relationship Id="rId76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37.xml"/><Relationship Id="rId71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70.xml"/><Relationship Id="rId45" Type="http://schemas.openxmlformats.org/officeDocument/2006/relationships/slideLayout" Target="../slideLayouts/slideLayout75.xml"/><Relationship Id="rId66" Type="http://schemas.openxmlformats.org/officeDocument/2006/relationships/slideLayout" Target="../slideLayouts/slideLayout96.xml"/><Relationship Id="rId87" Type="http://schemas.openxmlformats.org/officeDocument/2006/relationships/slideLayout" Target="../slideLayouts/slideLayout117.xml"/><Relationship Id="rId61" Type="http://schemas.openxmlformats.org/officeDocument/2006/relationships/slideLayout" Target="../slideLayouts/slideLayout91.xml"/><Relationship Id="rId82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89600" y="27217"/>
            <a:ext cx="8330550" cy="81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5344" tIns="37672" rIns="75344" bIns="3767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971550" y="1196974"/>
            <a:ext cx="784860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5344" tIns="37672" rIns="75344" bIns="37672" numCol="1" anchor="t" anchorCtr="0" compatLnSpc="1">
            <a:prstTxWarp prst="textNoShape">
              <a:avLst/>
            </a:prstTxWarp>
            <a:normAutofit/>
          </a:bodyPr>
          <a:lstStyle/>
          <a:p>
            <a:pPr marL="266700" marR="0" lvl="0" indent="-26670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60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85B96"/>
                </a:solidFill>
                <a:effectLst/>
                <a:uLnTx/>
                <a:uFillTx/>
                <a:latin typeface="Arial"/>
                <a:ea typeface="ＭＳ Ｐゴシック" charset="0"/>
              </a:rPr>
              <a:t>Cliquez pour modifier les styles du texte du masque</a:t>
            </a:r>
          </a:p>
          <a:p>
            <a:pPr marL="542925" marR="0" lvl="1" indent="-274638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7F7F7F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Deuxième niveau</a:t>
            </a:r>
          </a:p>
          <a:p>
            <a:pPr marL="809625" marR="0" lvl="2" indent="-265113" algn="l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6175B3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Troisième niveau</a:t>
            </a:r>
          </a:p>
          <a:p>
            <a:pPr marL="1047750" marR="0" lvl="3" indent="-236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Quatrième niveau</a:t>
            </a:r>
          </a:p>
          <a:p>
            <a:pPr marL="1228725" marR="0" lvl="4" indent="-179388" algn="l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Cinquième niveau</a:t>
            </a:r>
          </a:p>
          <a:p>
            <a:pPr lvl="0"/>
            <a:endParaRPr lang="fr-FR" altLang="fr-FR" dirty="0"/>
          </a:p>
        </p:txBody>
      </p:sp>
      <p:sp>
        <p:nvSpPr>
          <p:cNvPr id="1029" name="Rectangle 119"/>
          <p:cNvSpPr>
            <a:spLocks noChangeArrowheads="1"/>
          </p:cNvSpPr>
          <p:nvPr/>
        </p:nvSpPr>
        <p:spPr bwMode="auto">
          <a:xfrm>
            <a:off x="136802" y="1"/>
            <a:ext cx="267840" cy="899584"/>
          </a:xfrm>
          <a:prstGeom prst="rect">
            <a:avLst/>
          </a:prstGeom>
          <a:solidFill>
            <a:srgbClr val="003B79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75344" tIns="37672" rIns="75344" bIns="37672" anchor="ctr"/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030" name="Rectangle 123"/>
          <p:cNvSpPr>
            <a:spLocks noChangeArrowheads="1"/>
          </p:cNvSpPr>
          <p:nvPr/>
        </p:nvSpPr>
        <p:spPr bwMode="auto">
          <a:xfrm>
            <a:off x="136802" y="6611206"/>
            <a:ext cx="267840" cy="258536"/>
          </a:xfrm>
          <a:prstGeom prst="rect">
            <a:avLst/>
          </a:prstGeom>
          <a:solidFill>
            <a:srgbClr val="003B79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75344" tIns="37672" rIns="75344" bIns="37672" anchor="ctr"/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031" name="Text Box 116"/>
          <p:cNvSpPr txBox="1">
            <a:spLocks noChangeArrowheads="1"/>
          </p:cNvSpPr>
          <p:nvPr/>
        </p:nvSpPr>
        <p:spPr bwMode="auto">
          <a:xfrm>
            <a:off x="8037711" y="6546577"/>
            <a:ext cx="505438" cy="199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5344" tIns="37672" rIns="75344" bIns="37672">
            <a:spAutoFit/>
          </a:bodyPr>
          <a:lstStyle>
            <a:lvl1pPr marL="192088" indent="-192088" eaLnBrk="0" hangingPunct="0"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B5489C55-6DC2-4AF0-8FD8-6A6C7BE9DBBA}" type="slidenum">
              <a:rPr lang="fr-FR" sz="800">
                <a:solidFill>
                  <a:srgbClr val="003477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N°›</a:t>
            </a:fld>
            <a:r>
              <a:rPr lang="fr-FR" sz="800" b="1" dirty="0">
                <a:solidFill>
                  <a:schemeClr val="folHlin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3" name="Line 85"/>
          <p:cNvSpPr>
            <a:spLocks noChangeShapeType="1"/>
          </p:cNvSpPr>
          <p:nvPr/>
        </p:nvSpPr>
        <p:spPr bwMode="auto">
          <a:xfrm>
            <a:off x="540002" y="898072"/>
            <a:ext cx="842400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  <a:round/>
            <a:headEnd/>
            <a:tailEnd/>
          </a:ln>
          <a:effectLst/>
        </p:spPr>
        <p:txBody>
          <a:bodyPr lIns="69769" tIns="34885" rIns="69769" bIns="34885" anchor="ctr"/>
          <a:lstStyle/>
          <a:p>
            <a:pPr defTabSz="75344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dirty="0">
              <a:latin typeface="+mn-lt"/>
              <a:cs typeface="+mn-cs"/>
            </a:endParaRPr>
          </a:p>
        </p:txBody>
      </p:sp>
      <p:pic>
        <p:nvPicPr>
          <p:cNvPr id="10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</p:sldLayoutIdLst>
  <p:txStyles>
    <p:titleStyle>
      <a:lvl1pPr algn="l" defTabSz="753413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rgbClr val="003B79"/>
          </a:solidFill>
          <a:latin typeface="Arial" pitchFamily="34" charset="0"/>
          <a:ea typeface="+mj-ea"/>
          <a:cs typeface="Arial" pitchFamily="34" charset="0"/>
        </a:defRPr>
      </a:lvl1pPr>
      <a:lvl2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2pPr>
      <a:lvl3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3pPr>
      <a:lvl4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4pPr>
      <a:lvl5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5pPr>
      <a:lvl6pPr marL="348847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6pPr>
      <a:lvl7pPr marL="697695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7pPr>
      <a:lvl8pPr marL="1046542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8pPr>
      <a:lvl9pPr marL="1395389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9pPr>
    </p:titleStyle>
    <p:bodyStyle>
      <a:lvl1pPr marL="266700" marR="0" indent="-266700" algn="l" defTabSz="914400" rtl="0" eaLnBrk="1" fontAlgn="base" latinLnBrk="0" hangingPunct="1">
        <a:lnSpc>
          <a:spcPct val="100000"/>
        </a:lnSpc>
        <a:spcBef>
          <a:spcPct val="50000"/>
        </a:spcBef>
        <a:spcAft>
          <a:spcPct val="0"/>
        </a:spcAft>
        <a:buClr>
          <a:schemeClr val="tx2"/>
        </a:buClr>
        <a:buSzPct val="60000"/>
        <a:buFont typeface="Wingdings" pitchFamily="2" charset="2"/>
        <a:buChar char="l"/>
        <a:tabLst>
          <a:tab pos="8070850" algn="l"/>
        </a:tabLst>
        <a:defRPr lang="fr-FR" sz="1400" b="0" kern="1200" dirty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42925" marR="0" indent="-274638" algn="l" defTabSz="914400" rtl="0" eaLnBrk="1" fontAlgn="base" latinLnBrk="0" hangingPunct="1">
        <a:lnSpc>
          <a:spcPct val="100000"/>
        </a:lnSpc>
        <a:spcBef>
          <a:spcPct val="35000"/>
        </a:spcBef>
        <a:spcAft>
          <a:spcPct val="0"/>
        </a:spcAft>
        <a:buClr>
          <a:srgbClr val="7F7F7F"/>
        </a:buClr>
        <a:buSzPct val="55000"/>
        <a:buFont typeface="Wingdings" pitchFamily="2" charset="2"/>
        <a:buChar char="l"/>
        <a:tabLst>
          <a:tab pos="8070850" algn="l"/>
        </a:tabLst>
        <a:defRPr lang="fr-FR" sz="1400" kern="1200" dirty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809625" marR="0" indent="-265113" algn="l" defTabSz="914400" rtl="0" eaLnBrk="1" fontAlgn="base" latinLnBrk="0" hangingPunct="1">
        <a:lnSpc>
          <a:spcPct val="100000"/>
        </a:lnSpc>
        <a:spcBef>
          <a:spcPct val="25000"/>
        </a:spcBef>
        <a:spcAft>
          <a:spcPct val="0"/>
        </a:spcAft>
        <a:buClr>
          <a:schemeClr val="tx2"/>
        </a:buClr>
        <a:buSzPct val="55000"/>
        <a:buFont typeface="Wingdings" pitchFamily="2" charset="2"/>
        <a:buChar char="l"/>
        <a:tabLst>
          <a:tab pos="8070850" algn="l"/>
        </a:tabLst>
        <a:defRPr lang="fr-FR" sz="1400" kern="1200" dirty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047750" marR="0" indent="-236538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Pct val="100000"/>
        <a:buFont typeface="Arial" pitchFamily="34" charset="0"/>
        <a:buChar char="-"/>
        <a:tabLst>
          <a:tab pos="8070850" algn="l"/>
        </a:tabLst>
        <a:defRPr lang="fr-FR" sz="1400" kern="1200" dirty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1228725" marR="0" indent="-179388" algn="l" defTabSz="914400" rtl="0" eaLnBrk="1" fontAlgn="base" latinLnBrk="0" hangingPunct="1">
        <a:lnSpc>
          <a:spcPct val="100000"/>
        </a:lnSpc>
        <a:spcBef>
          <a:spcPct val="15000"/>
        </a:spcBef>
        <a:spcAft>
          <a:spcPct val="0"/>
        </a:spcAft>
        <a:buClr>
          <a:srgbClr val="7F7F7F"/>
        </a:buClr>
        <a:buSzPct val="90000"/>
        <a:buFont typeface="Arial" pitchFamily="34" charset="0"/>
        <a:buChar char="-"/>
        <a:tabLst>
          <a:tab pos="8070850" algn="l"/>
        </a:tabLst>
        <a:defRPr lang="fr-FR" altLang="fr-FR" sz="1400" kern="1200" dirty="0" smtClean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985838" indent="-138113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681" indent="-188360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25401" indent="-188360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02121" indent="-188360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7672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344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16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0688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360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32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63704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01376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  <a:endParaRPr lang="en-US" altLang="fr-FR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23999"/>
            <a:ext cx="8229600" cy="463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  <a:endParaRPr lang="en-US" altLang="fr-FR"/>
          </a:p>
        </p:txBody>
      </p:sp>
      <p:sp>
        <p:nvSpPr>
          <p:cNvPr id="1031" name="ZoneTexte 8"/>
          <p:cNvSpPr txBox="1">
            <a:spLocks noChangeArrowheads="1"/>
          </p:cNvSpPr>
          <p:nvPr/>
        </p:nvSpPr>
        <p:spPr bwMode="auto">
          <a:xfrm>
            <a:off x="382588" y="6383338"/>
            <a:ext cx="525462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altLang="fr-FR" sz="600" dirty="0"/>
              <a:t>© 2016 Willis Towers Watson. All rights reserved. Proprietary and Confidential. For Willis Towers Watson and Willis Towers Watson client use only.</a:t>
            </a:r>
            <a:endParaRPr lang="en-US" altLang="fr-FR" sz="600" dirty="0"/>
          </a:p>
        </p:txBody>
      </p:sp>
      <p:sp>
        <p:nvSpPr>
          <p:cNvPr id="1032" name="ZoneTexte 1"/>
          <p:cNvSpPr txBox="1">
            <a:spLocks noChangeArrowheads="1"/>
          </p:cNvSpPr>
          <p:nvPr/>
        </p:nvSpPr>
        <p:spPr bwMode="auto">
          <a:xfrm>
            <a:off x="8229600" y="6353175"/>
            <a:ext cx="4635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3A36B54-6289-43AE-97A3-8EE8063BCB5B}" type="slidenum">
              <a:rPr lang="en-US" altLang="fr-FR" sz="900"/>
              <a:pPr algn="r" eaLnBrk="1" hangingPunct="1">
                <a:defRPr/>
              </a:pPr>
              <a:t>‹N°›</a:t>
            </a:fld>
            <a:endParaRPr lang="en-US" altLang="fr-FR" sz="900"/>
          </a:p>
        </p:txBody>
      </p:sp>
      <p:pic>
        <p:nvPicPr>
          <p:cNvPr id="8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  <p:sldLayoutId id="2147483858" r:id="rId28"/>
    <p:sldLayoutId id="2147483859" r:id="rId29"/>
    <p:sldLayoutId id="2147483860" r:id="rId30"/>
    <p:sldLayoutId id="2147483861" r:id="rId31"/>
    <p:sldLayoutId id="2147483862" r:id="rId32"/>
    <p:sldLayoutId id="2147483863" r:id="rId33"/>
    <p:sldLayoutId id="2147483864" r:id="rId34"/>
    <p:sldLayoutId id="2147483865" r:id="rId35"/>
    <p:sldLayoutId id="2147483866" r:id="rId36"/>
    <p:sldLayoutId id="2147483867" r:id="rId37"/>
    <p:sldLayoutId id="2147483868" r:id="rId38"/>
    <p:sldLayoutId id="2147483869" r:id="rId39"/>
    <p:sldLayoutId id="2147483870" r:id="rId40"/>
    <p:sldLayoutId id="2147483871" r:id="rId41"/>
    <p:sldLayoutId id="2147483872" r:id="rId42"/>
    <p:sldLayoutId id="2147483873" r:id="rId43"/>
    <p:sldLayoutId id="2147483874" r:id="rId44"/>
    <p:sldLayoutId id="2147483875" r:id="rId45"/>
    <p:sldLayoutId id="2147483876" r:id="rId46"/>
    <p:sldLayoutId id="2147483877" r:id="rId47"/>
    <p:sldLayoutId id="2147483878" r:id="rId48"/>
    <p:sldLayoutId id="2147483879" r:id="rId49"/>
    <p:sldLayoutId id="2147483880" r:id="rId50"/>
    <p:sldLayoutId id="2147483881" r:id="rId51"/>
    <p:sldLayoutId id="2147483882" r:id="rId52"/>
    <p:sldLayoutId id="2147483883" r:id="rId53"/>
    <p:sldLayoutId id="2147483884" r:id="rId54"/>
    <p:sldLayoutId id="2147483885" r:id="rId55"/>
    <p:sldLayoutId id="2147483886" r:id="rId56"/>
    <p:sldLayoutId id="2147483887" r:id="rId57"/>
    <p:sldLayoutId id="2147483888" r:id="rId58"/>
    <p:sldLayoutId id="2147483889" r:id="rId59"/>
    <p:sldLayoutId id="2147483890" r:id="rId60"/>
    <p:sldLayoutId id="2147483891" r:id="rId61"/>
    <p:sldLayoutId id="2147483892" r:id="rId62"/>
    <p:sldLayoutId id="2147483893" r:id="rId63"/>
    <p:sldLayoutId id="2147483894" r:id="rId64"/>
    <p:sldLayoutId id="2147483895" r:id="rId65"/>
    <p:sldLayoutId id="2147483896" r:id="rId66"/>
    <p:sldLayoutId id="2147483897" r:id="rId67"/>
    <p:sldLayoutId id="2147483898" r:id="rId68"/>
    <p:sldLayoutId id="2147483899" r:id="rId69"/>
    <p:sldLayoutId id="2147483900" r:id="rId70"/>
    <p:sldLayoutId id="2147483901" r:id="rId71"/>
    <p:sldLayoutId id="2147483902" r:id="rId72"/>
    <p:sldLayoutId id="2147483903" r:id="rId73"/>
    <p:sldLayoutId id="2147483904" r:id="rId74"/>
    <p:sldLayoutId id="2147483905" r:id="rId75"/>
    <p:sldLayoutId id="2147483906" r:id="rId76"/>
    <p:sldLayoutId id="2147483907" r:id="rId77"/>
    <p:sldLayoutId id="2147483908" r:id="rId78"/>
    <p:sldLayoutId id="2147483909" r:id="rId79"/>
    <p:sldLayoutId id="2147483910" r:id="rId80"/>
    <p:sldLayoutId id="2147483911" r:id="rId81"/>
    <p:sldLayoutId id="2147483912" r:id="rId82"/>
    <p:sldLayoutId id="2147483913" r:id="rId83"/>
    <p:sldLayoutId id="2147483914" r:id="rId84"/>
    <p:sldLayoutId id="2147483915" r:id="rId85"/>
    <p:sldLayoutId id="2147483916" r:id="rId86"/>
    <p:sldLayoutId id="2147483917" r:id="rId87"/>
    <p:sldLayoutId id="2147483918" r:id="rId88"/>
    <p:sldLayoutId id="2147483922" r:id="rId8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rgbClr val="70208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1" fontAlgn="base" hangingPunct="1">
        <a:spcBef>
          <a:spcPct val="0"/>
        </a:spcBef>
        <a:spcAft>
          <a:spcPts val="350"/>
        </a:spcAft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algn="l" rtl="0" eaLnBrk="1" fontAlgn="base" hangingPunct="1">
        <a:spcBef>
          <a:spcPct val="0"/>
        </a:spcBef>
        <a:spcAft>
          <a:spcPts val="35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rtl="0" eaLnBrk="1" fontAlgn="base" hangingPunct="1">
        <a:spcBef>
          <a:spcPct val="0"/>
        </a:spcBef>
        <a:spcAft>
          <a:spcPts val="350"/>
        </a:spcAft>
        <a:buClr>
          <a:srgbClr val="70208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rtl="0" eaLnBrk="1" fontAlgn="base" hangingPunct="1">
        <a:spcBef>
          <a:spcPct val="0"/>
        </a:spcBef>
        <a:spcAft>
          <a:spcPts val="275"/>
        </a:spcAft>
        <a:buClr>
          <a:srgbClr val="63666A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0250" indent="-228600" algn="l" rtl="0" eaLnBrk="1" fontAlgn="base" hangingPunct="1">
        <a:spcBef>
          <a:spcPct val="0"/>
        </a:spcBef>
        <a:spcAft>
          <a:spcPts val="275"/>
        </a:spcAft>
        <a:buClr>
          <a:srgbClr val="000000"/>
        </a:buClr>
        <a:buFont typeface="Arial" pitchFamily="34" charset="0"/>
        <a:buChar char="̵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05840" indent="-228600" algn="l" defTabSz="914400" rtl="0" eaLnBrk="1" latinLnBrk="0" hangingPunct="1">
        <a:spcBef>
          <a:spcPts val="0"/>
        </a:spcBef>
        <a:spcAft>
          <a:spcPts val="240"/>
        </a:spcAft>
        <a:buClr>
          <a:srgbClr val="000000"/>
        </a:buClr>
        <a:buFont typeface="Arial" pitchFamily="34" charset="0"/>
        <a:buChar char="̵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228600" algn="l" defTabSz="914400" rtl="0" eaLnBrk="1" latinLnBrk="0" hangingPunct="1">
        <a:spcBef>
          <a:spcPts val="0"/>
        </a:spcBef>
        <a:spcAft>
          <a:spcPts val="240"/>
        </a:spcAft>
        <a:buClr>
          <a:srgbClr val="000000"/>
        </a:buClr>
        <a:buFont typeface="Arial" pitchFamily="34" charset="0"/>
        <a:buChar char="̵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52.emf"/><Relationship Id="rId4" Type="http://schemas.openxmlformats.org/officeDocument/2006/relationships/image" Target="../media/image5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1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1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1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1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1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 bwMode="auto">
          <a:xfrm>
            <a:off x="323528" y="670134"/>
            <a:ext cx="5784696" cy="810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70208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dirty="0"/>
              <a:t>Groupe ASSYSTEM - Régime de prévoyance</a:t>
            </a:r>
            <a:endParaRPr lang="fr-FR" b="0" dirty="0">
              <a:solidFill>
                <a:schemeClr val="tx1"/>
              </a:solidFill>
            </a:endParaRPr>
          </a:p>
          <a:p>
            <a:r>
              <a:rPr lang="fr-FR" b="0" dirty="0">
                <a:solidFill>
                  <a:schemeClr val="tx1"/>
                </a:solidFill>
              </a:rPr>
              <a:t>Etude sur l’absentéisme</a:t>
            </a:r>
          </a:p>
          <a:p>
            <a:endParaRPr lang="fr-FR" sz="1600" b="0" dirty="0">
              <a:solidFill>
                <a:schemeClr val="tx1"/>
              </a:solidFill>
            </a:endParaRPr>
          </a:p>
          <a:p>
            <a:r>
              <a:rPr lang="fr-FR" sz="1200" b="0" dirty="0">
                <a:solidFill>
                  <a:schemeClr val="tx1"/>
                </a:solidFill>
              </a:rPr>
              <a:t>Le 24/02/2017</a:t>
            </a:r>
          </a:p>
        </p:txBody>
      </p:sp>
    </p:spTree>
    <p:extLst>
      <p:ext uri="{BB962C8B-B14F-4D97-AF65-F5344CB8AC3E}">
        <p14:creationId xmlns:p14="http://schemas.microsoft.com/office/powerpoint/2010/main" val="16740246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074222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sex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1475656" y="5805264"/>
            <a:ext cx="6192688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tons que dans votre Groupe le niveau d’absentéisme s’équilibre selon le sexe pour les salariés de plus de 50 ans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1547664" y="1412776"/>
            <a:ext cx="5978298" cy="4248472"/>
            <a:chOff x="0" y="0"/>
            <a:chExt cx="4487798" cy="3215852"/>
          </a:xfrm>
          <a:gradFill>
            <a:gsLst>
              <a:gs pos="77855">
                <a:schemeClr val="accent2"/>
              </a:gs>
              <a:gs pos="0">
                <a:schemeClr val="accent2">
                  <a:lumMod val="60000"/>
                  <a:lumOff val="40000"/>
                </a:schemeClr>
              </a:gs>
              <a:gs pos="11520">
                <a:schemeClr val="accent2"/>
              </a:gs>
              <a:gs pos="32000">
                <a:schemeClr val="accent2"/>
              </a:gs>
              <a:gs pos="57000">
                <a:schemeClr val="accent2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21594000" scaled="0"/>
          </a:gradFill>
        </p:grpSpPr>
        <p:graphicFrame>
          <p:nvGraphicFramePr>
            <p:cNvPr id="14" name="Graphique 13"/>
            <p:cNvGraphicFramePr/>
            <p:nvPr>
              <p:extLst>
                <p:ext uri="{D42A27DB-BD31-4B8C-83A1-F6EECF244321}">
                  <p14:modId xmlns:p14="http://schemas.microsoft.com/office/powerpoint/2010/main" val="3267471319"/>
                </p:ext>
              </p:extLst>
            </p:nvPr>
          </p:nvGraphicFramePr>
          <p:xfrm>
            <a:off x="0" y="0"/>
            <a:ext cx="4484439" cy="169183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5" name="Graphique 1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952093233"/>
                </p:ext>
              </p:extLst>
            </p:nvPr>
          </p:nvGraphicFramePr>
          <p:xfrm>
            <a:off x="3359" y="1520403"/>
            <a:ext cx="4484439" cy="16954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79607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4139952" y="273670"/>
            <a:ext cx="4536504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taux d’absentéisme qui se stabilise à partir de 40 ans tant en fréquence qu’en durée moyenne</a:t>
            </a:r>
          </a:p>
        </p:txBody>
      </p:sp>
      <p:pic>
        <p:nvPicPr>
          <p:cNvPr id="7" name="Image 6"/>
          <p:cNvPicPr/>
          <p:nvPr/>
        </p:nvPicPr>
        <p:blipFill>
          <a:blip r:embed="rId2"/>
          <a:stretch>
            <a:fillRect/>
          </a:stretch>
        </p:blipFill>
        <p:spPr>
          <a:xfrm>
            <a:off x="355923" y="1124744"/>
            <a:ext cx="4030142" cy="2798709"/>
          </a:xfrm>
          <a:prstGeom prst="rect">
            <a:avLst/>
          </a:prstGeom>
        </p:spPr>
      </p:pic>
      <p:pic>
        <p:nvPicPr>
          <p:cNvPr id="8" name="Image 7"/>
          <p:cNvPicPr/>
          <p:nvPr/>
        </p:nvPicPr>
        <p:blipFill>
          <a:blip r:embed="rId3"/>
          <a:stretch>
            <a:fillRect/>
          </a:stretch>
        </p:blipFill>
        <p:spPr>
          <a:xfrm>
            <a:off x="325853" y="3923453"/>
            <a:ext cx="4128574" cy="2817915"/>
          </a:xfrm>
          <a:prstGeom prst="rect">
            <a:avLst/>
          </a:prstGeom>
        </p:spPr>
      </p:pic>
      <p:pic>
        <p:nvPicPr>
          <p:cNvPr id="9" name="Image 8"/>
          <p:cNvPicPr/>
          <p:nvPr/>
        </p:nvPicPr>
        <p:blipFill>
          <a:blip r:embed="rId4"/>
          <a:stretch>
            <a:fillRect/>
          </a:stretch>
        </p:blipFill>
        <p:spPr>
          <a:xfrm>
            <a:off x="4704494" y="3943977"/>
            <a:ext cx="4043970" cy="2797391"/>
          </a:xfrm>
          <a:prstGeom prst="rect">
            <a:avLst/>
          </a:prstGeom>
        </p:spPr>
      </p:pic>
      <p:pic>
        <p:nvPicPr>
          <p:cNvPr id="10" name="Image 9"/>
          <p:cNvPicPr/>
          <p:nvPr/>
        </p:nvPicPr>
        <p:blipFill>
          <a:blip r:embed="rId5"/>
          <a:stretch>
            <a:fillRect/>
          </a:stretch>
        </p:blipFill>
        <p:spPr>
          <a:xfrm>
            <a:off x="4704494" y="1124744"/>
            <a:ext cx="4043970" cy="280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4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âg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327500" y="5661248"/>
            <a:ext cx="856498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e taux d’absentéisme en fonction de l’âge de votre Groupe est inférieur à celui du portefeuille Gras Savoye quelque soit la tranche d’âge</a:t>
            </a:r>
          </a:p>
        </p:txBody>
      </p:sp>
      <p:pic>
        <p:nvPicPr>
          <p:cNvPr id="4" name="Image 3"/>
          <p:cNvPicPr/>
          <p:nvPr/>
        </p:nvPicPr>
        <p:blipFill>
          <a:blip r:embed="rId2"/>
          <a:stretch>
            <a:fillRect/>
          </a:stretch>
        </p:blipFill>
        <p:spPr>
          <a:xfrm>
            <a:off x="150813" y="1308100"/>
            <a:ext cx="8878887" cy="427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20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présentations graphiques</a:t>
            </a:r>
            <a:br>
              <a:rPr lang="fr-FR" dirty="0"/>
            </a:br>
            <a:r>
              <a:rPr lang="fr-FR" dirty="0"/>
              <a:t>des résultats de l’étude</a:t>
            </a:r>
            <a:br>
              <a:rPr lang="fr-FR" dirty="0"/>
            </a:br>
            <a:br>
              <a:rPr lang="fr-FR" dirty="0"/>
            </a:br>
            <a:r>
              <a:rPr lang="fr-FR" dirty="0"/>
              <a:t>Evolution des données sur 4 années</a:t>
            </a:r>
          </a:p>
        </p:txBody>
      </p:sp>
    </p:spTree>
    <p:extLst>
      <p:ext uri="{BB962C8B-B14F-4D97-AF65-F5344CB8AC3E}">
        <p14:creationId xmlns:p14="http://schemas.microsoft.com/office/powerpoint/2010/main" val="19486509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pic>
        <p:nvPicPr>
          <p:cNvPr id="15" name="Image 14"/>
          <p:cNvPicPr/>
          <p:nvPr/>
        </p:nvPicPr>
        <p:blipFill>
          <a:blip r:embed="rId2"/>
          <a:stretch>
            <a:fillRect/>
          </a:stretch>
        </p:blipFill>
        <p:spPr>
          <a:xfrm>
            <a:off x="355923" y="1052736"/>
            <a:ext cx="4000053" cy="2783731"/>
          </a:xfrm>
          <a:prstGeom prst="rect">
            <a:avLst/>
          </a:prstGeom>
        </p:spPr>
      </p:pic>
      <p:pic>
        <p:nvPicPr>
          <p:cNvPr id="16" name="Image 15"/>
          <p:cNvPicPr/>
          <p:nvPr/>
        </p:nvPicPr>
        <p:blipFill>
          <a:blip r:embed="rId3"/>
          <a:stretch>
            <a:fillRect/>
          </a:stretch>
        </p:blipFill>
        <p:spPr>
          <a:xfrm>
            <a:off x="377130" y="3901679"/>
            <a:ext cx="3978846" cy="2767681"/>
          </a:xfrm>
          <a:prstGeom prst="rect">
            <a:avLst/>
          </a:prstGeom>
        </p:spPr>
      </p:pic>
      <p:pic>
        <p:nvPicPr>
          <p:cNvPr id="17" name="Image 16"/>
          <p:cNvPicPr/>
          <p:nvPr/>
        </p:nvPicPr>
        <p:blipFill>
          <a:blip r:embed="rId4"/>
          <a:stretch>
            <a:fillRect/>
          </a:stretch>
        </p:blipFill>
        <p:spPr>
          <a:xfrm>
            <a:off x="4716017" y="3901679"/>
            <a:ext cx="4032447" cy="2839689"/>
          </a:xfrm>
          <a:prstGeom prst="rect">
            <a:avLst/>
          </a:prstGeom>
        </p:spPr>
      </p:pic>
      <p:pic>
        <p:nvPicPr>
          <p:cNvPr id="18" name="Image 17"/>
          <p:cNvPicPr/>
          <p:nvPr/>
        </p:nvPicPr>
        <p:blipFill>
          <a:blip r:embed="rId5"/>
          <a:stretch>
            <a:fillRect/>
          </a:stretch>
        </p:blipFill>
        <p:spPr>
          <a:xfrm>
            <a:off x="4716017" y="1052736"/>
            <a:ext cx="4032448" cy="2798907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4427984" y="273670"/>
            <a:ext cx="4176464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absentéisme globalement supérieur au secteur de la Technologie de l’information</a:t>
            </a:r>
          </a:p>
        </p:txBody>
      </p:sp>
    </p:spTree>
    <p:extLst>
      <p:ext uri="{BB962C8B-B14F-4D97-AF65-F5344CB8AC3E}">
        <p14:creationId xmlns:p14="http://schemas.microsoft.com/office/powerpoint/2010/main" val="2819854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3779912" y="273670"/>
            <a:ext cx="504056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taux d’absentéisme pour la Maladie qui augmente depuis 2013 avec une durée moyenne plus importante</a:t>
            </a:r>
          </a:p>
        </p:txBody>
      </p:sp>
      <p:pic>
        <p:nvPicPr>
          <p:cNvPr id="12" name="Image 11"/>
          <p:cNvPicPr/>
          <p:nvPr/>
        </p:nvPicPr>
        <p:blipFill>
          <a:blip r:embed="rId2"/>
          <a:stretch>
            <a:fillRect/>
          </a:stretch>
        </p:blipFill>
        <p:spPr>
          <a:xfrm>
            <a:off x="107504" y="1101848"/>
            <a:ext cx="4307185" cy="2831207"/>
          </a:xfrm>
          <a:prstGeom prst="rect">
            <a:avLst/>
          </a:prstGeom>
        </p:spPr>
      </p:pic>
      <p:pic>
        <p:nvPicPr>
          <p:cNvPr id="15" name="Image 14"/>
          <p:cNvPicPr/>
          <p:nvPr/>
        </p:nvPicPr>
        <p:blipFill>
          <a:blip r:embed="rId3"/>
          <a:stretch>
            <a:fillRect/>
          </a:stretch>
        </p:blipFill>
        <p:spPr>
          <a:xfrm>
            <a:off x="4572000" y="1124768"/>
            <a:ext cx="4410960" cy="2808288"/>
          </a:xfrm>
          <a:prstGeom prst="rect">
            <a:avLst/>
          </a:prstGeom>
        </p:spPr>
      </p:pic>
      <p:pic>
        <p:nvPicPr>
          <p:cNvPr id="16" name="Image 15"/>
          <p:cNvPicPr/>
          <p:nvPr/>
        </p:nvPicPr>
        <p:blipFill>
          <a:blip r:embed="rId4"/>
          <a:stretch>
            <a:fillRect/>
          </a:stretch>
        </p:blipFill>
        <p:spPr>
          <a:xfrm>
            <a:off x="4618018" y="3861048"/>
            <a:ext cx="4346470" cy="2873375"/>
          </a:xfrm>
          <a:prstGeom prst="rect">
            <a:avLst/>
          </a:prstGeom>
        </p:spPr>
      </p:pic>
      <p:pic>
        <p:nvPicPr>
          <p:cNvPr id="17" name="Image 16"/>
          <p:cNvPicPr/>
          <p:nvPr/>
        </p:nvPicPr>
        <p:blipFill>
          <a:blip r:embed="rId5"/>
          <a:stretch>
            <a:fillRect/>
          </a:stretch>
        </p:blipFill>
        <p:spPr>
          <a:xfrm>
            <a:off x="107504" y="3922788"/>
            <a:ext cx="4307185" cy="2811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96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3419872" y="158254"/>
            <a:ext cx="5400600" cy="7652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taux d’absentéisme des femmes élevé en 2015 mais inférieur (ou proche) à ceux des benchmark pour les autres années (contrairement aux hommes)</a:t>
            </a:r>
          </a:p>
        </p:txBody>
      </p:sp>
      <p:pic>
        <p:nvPicPr>
          <p:cNvPr id="15" name="Image 14"/>
          <p:cNvPicPr/>
          <p:nvPr/>
        </p:nvPicPr>
        <p:blipFill>
          <a:blip r:embed="rId2"/>
          <a:stretch>
            <a:fillRect/>
          </a:stretch>
        </p:blipFill>
        <p:spPr>
          <a:xfrm>
            <a:off x="171450" y="995363"/>
            <a:ext cx="4352925" cy="2900362"/>
          </a:xfrm>
          <a:prstGeom prst="rect">
            <a:avLst/>
          </a:prstGeom>
        </p:spPr>
      </p:pic>
      <p:pic>
        <p:nvPicPr>
          <p:cNvPr id="16" name="Image 15"/>
          <p:cNvPicPr/>
          <p:nvPr/>
        </p:nvPicPr>
        <p:blipFill>
          <a:blip r:embed="rId3"/>
          <a:stretch>
            <a:fillRect/>
          </a:stretch>
        </p:blipFill>
        <p:spPr>
          <a:xfrm>
            <a:off x="184149" y="3883363"/>
            <a:ext cx="4340225" cy="2871450"/>
          </a:xfrm>
          <a:prstGeom prst="rect">
            <a:avLst/>
          </a:prstGeom>
        </p:spPr>
      </p:pic>
      <p:pic>
        <p:nvPicPr>
          <p:cNvPr id="17" name="Image 16"/>
          <p:cNvPicPr/>
          <p:nvPr/>
        </p:nvPicPr>
        <p:blipFill>
          <a:blip r:embed="rId4"/>
          <a:stretch>
            <a:fillRect/>
          </a:stretch>
        </p:blipFill>
        <p:spPr>
          <a:xfrm>
            <a:off x="4687888" y="985838"/>
            <a:ext cx="4432300" cy="2935287"/>
          </a:xfrm>
          <a:prstGeom prst="rect">
            <a:avLst/>
          </a:prstGeom>
        </p:spPr>
      </p:pic>
      <p:pic>
        <p:nvPicPr>
          <p:cNvPr id="12" name="Image 11"/>
          <p:cNvPicPr/>
          <p:nvPr/>
        </p:nvPicPr>
        <p:blipFill>
          <a:blip r:embed="rId5"/>
          <a:stretch>
            <a:fillRect/>
          </a:stretch>
        </p:blipFill>
        <p:spPr>
          <a:xfrm>
            <a:off x="4689475" y="3792538"/>
            <a:ext cx="4397375" cy="304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9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volution du taux d’absentéisme</a:t>
            </a:r>
            <a:br>
              <a:rPr lang="fr-FR" dirty="0"/>
            </a:br>
            <a:r>
              <a:rPr lang="fr-FR" dirty="0"/>
              <a:t>par établissement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8316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ux d’absentéisme par établissement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323528" y="1382464"/>
            <a:ext cx="8496944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observons une disparité importante entre les différents établissements du Groupe ASSYSTEM et un taux d’absentéisme qui augmente depuis 2012</a:t>
            </a:r>
          </a:p>
        </p:txBody>
      </p:sp>
      <p:pic>
        <p:nvPicPr>
          <p:cNvPr id="11" name="Image 10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2132856"/>
            <a:ext cx="9143999" cy="4207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213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ux d’absentéisme par établissement</a:t>
            </a:r>
            <a:br>
              <a:rPr lang="fr-FR" dirty="0"/>
            </a:br>
            <a:r>
              <a:rPr lang="fr-FR" sz="1600" dirty="0"/>
              <a:t>Répartition des effectifs et jours d’absenc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2276872"/>
            <a:ext cx="9143999" cy="3337095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251520" y="1412776"/>
            <a:ext cx="8568952" cy="30353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a répartition entre les effectifs et les jours d’absence est relativement équilibrée</a:t>
            </a:r>
          </a:p>
        </p:txBody>
      </p:sp>
    </p:spTree>
    <p:extLst>
      <p:ext uri="{BB962C8B-B14F-4D97-AF65-F5344CB8AC3E}">
        <p14:creationId xmlns:p14="http://schemas.microsoft.com/office/powerpoint/2010/main" val="231911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ologie</a:t>
            </a: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395536" y="1052736"/>
            <a:ext cx="8352928" cy="4968552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350"/>
              </a:spcAft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ts val="35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rtl="0" eaLnBrk="1" fontAlgn="base" hangingPunct="1">
              <a:spcBef>
                <a:spcPct val="0"/>
              </a:spcBef>
              <a:spcAft>
                <a:spcPts val="350"/>
              </a:spcAft>
              <a:buClr>
                <a:srgbClr val="70208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63666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025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000000"/>
              </a:buClr>
              <a:buFont typeface="Arial" pitchFamily="34" charset="0"/>
              <a:buChar char="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584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fr-FR" sz="1800" dirty="0"/>
              <a:t>Notre service technique a développé un outil qui permet d’analyser l’absentéisme dans votre société</a:t>
            </a:r>
          </a:p>
          <a:p>
            <a:pPr lvl="2"/>
            <a:endParaRPr lang="fr-FR" dirty="0"/>
          </a:p>
          <a:p>
            <a:pPr lvl="2"/>
            <a:r>
              <a:rPr lang="fr-FR" sz="1800" dirty="0"/>
              <a:t>Cet outil mesure le niveau d’absentéisme à l’aide d’indicateurs :</a:t>
            </a:r>
          </a:p>
          <a:p>
            <a:pPr lvl="2"/>
            <a:endParaRPr lang="fr-FR" sz="400" dirty="0"/>
          </a:p>
          <a:p>
            <a:pPr lvl="3"/>
            <a:r>
              <a:rPr lang="fr-FR" sz="1600" dirty="0"/>
              <a:t>Le nombre de jours d’arrêt</a:t>
            </a:r>
          </a:p>
          <a:p>
            <a:pPr lvl="3"/>
            <a:r>
              <a:rPr lang="fr-FR" sz="1600" dirty="0"/>
              <a:t>Le taux d’absentéisme</a:t>
            </a:r>
          </a:p>
          <a:p>
            <a:pPr lvl="3"/>
            <a:r>
              <a:rPr lang="fr-FR" sz="1600" dirty="0"/>
              <a:t>La fréquence d’arrêt de travail</a:t>
            </a:r>
          </a:p>
          <a:p>
            <a:pPr lvl="3"/>
            <a:r>
              <a:rPr lang="fr-FR" sz="1600" dirty="0"/>
              <a:t>La prévalence d’arrêt de travail</a:t>
            </a:r>
          </a:p>
          <a:p>
            <a:pPr lvl="3"/>
            <a:r>
              <a:rPr lang="fr-FR" sz="1600" dirty="0"/>
              <a:t>La durée moyenne annuelle</a:t>
            </a:r>
          </a:p>
          <a:p>
            <a:pPr lvl="3"/>
            <a:endParaRPr lang="fr-FR" sz="1400" dirty="0"/>
          </a:p>
          <a:p>
            <a:pPr lvl="2"/>
            <a:r>
              <a:rPr lang="fr-FR" sz="1800" dirty="0"/>
              <a:t>Les représentations graphiques qui en découlent permettent de mettre est en lumière les causes des arrêts de travail</a:t>
            </a:r>
          </a:p>
          <a:p>
            <a:pPr lvl="2"/>
            <a:endParaRPr lang="fr-FR" dirty="0"/>
          </a:p>
          <a:p>
            <a:pPr lvl="2"/>
            <a:r>
              <a:rPr lang="fr-FR" sz="1800" dirty="0"/>
              <a:t>Grâce à notre expérience de la gestion prévoyance, ces données sont ensuite comparées à celles de différents benchmark, tels que celui du secteur d’activité, d’entreprises comparables et des données Gras Savoye </a:t>
            </a:r>
          </a:p>
          <a:p>
            <a:pPr lvl="3"/>
            <a:endParaRPr lang="fr-FR" sz="1600" dirty="0"/>
          </a:p>
          <a:p>
            <a:pPr lvl="2"/>
            <a:endParaRPr lang="fr-FR" sz="1800" dirty="0"/>
          </a:p>
          <a:p>
            <a:pPr lvl="3"/>
            <a:endParaRPr lang="fr-FR" sz="1600" dirty="0"/>
          </a:p>
          <a:p>
            <a:pPr lvl="3"/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6663644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Zoom - ASSYSTEM France et régions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6347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SYSTEM France et régions</a:t>
            </a:r>
            <a:br>
              <a:rPr lang="fr-FR" dirty="0"/>
            </a:br>
            <a:r>
              <a:rPr lang="fr-FR" sz="1600" dirty="0"/>
              <a:t>Evolution du taux d’absentéisme par tranche d’âg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251520" y="1268760"/>
            <a:ext cx="864096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pouvons noter que pour toutes les tranches d’âge le taux d’absentéisme progresse régulièrement depuis l’année 2012</a:t>
            </a:r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41275" y="1897063"/>
            <a:ext cx="8770938" cy="469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16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SYSTEM France et régions</a:t>
            </a:r>
            <a:br>
              <a:rPr lang="fr-FR" dirty="0"/>
            </a:br>
            <a:r>
              <a:rPr lang="fr-FR" sz="1600" dirty="0"/>
              <a:t>Evolution du taux d’absentéisme par sex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6350" y="1340768"/>
            <a:ext cx="9137649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Comme pour le Groupe et les différents benchmark proposés le niveau d’absentéisme est plus important chez les femmes mais il évolue de la même façon (9% d’augmentation de 2012 à 2015)</a:t>
            </a:r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6350" y="2209800"/>
            <a:ext cx="9129713" cy="325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37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SYSTEM France et régions</a:t>
            </a:r>
            <a:br>
              <a:rPr lang="fr-FR" dirty="0"/>
            </a:br>
            <a:r>
              <a:rPr lang="fr-FR" sz="1600" dirty="0"/>
              <a:t>Evolution du taux d’absentéisme par collèg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6350" y="1340768"/>
            <a:ext cx="9137649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e niveau d’absentéisme par collège est proche sur la période 2012 - 2014, pour l’année 2015 le taux d’absentéisme des non cadres est plus important que celui du personnel cadre et assimilé </a:t>
            </a:r>
          </a:p>
        </p:txBody>
      </p:sp>
      <p:pic>
        <p:nvPicPr>
          <p:cNvPr id="4" name="Image 3"/>
          <p:cNvPicPr/>
          <p:nvPr/>
        </p:nvPicPr>
        <p:blipFill>
          <a:blip r:embed="rId2"/>
          <a:stretch>
            <a:fillRect/>
          </a:stretch>
        </p:blipFill>
        <p:spPr>
          <a:xfrm>
            <a:off x="6350" y="2252731"/>
            <a:ext cx="9137649" cy="3264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68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s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15318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s</a:t>
            </a: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395536" y="1196752"/>
            <a:ext cx="8352928" cy="4968552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350"/>
              </a:spcAft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ts val="35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rtl="0" eaLnBrk="1" fontAlgn="base" hangingPunct="1">
              <a:spcBef>
                <a:spcPct val="0"/>
              </a:spcBef>
              <a:spcAft>
                <a:spcPts val="350"/>
              </a:spcAft>
              <a:buClr>
                <a:srgbClr val="70208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63666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025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000000"/>
              </a:buClr>
              <a:buFont typeface="Arial" pitchFamily="34" charset="0"/>
              <a:buChar char="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584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fr-FR" sz="1800" dirty="0"/>
              <a:t>Nous sommes désormais en mesure d’expliquer de façons pertinentes les principales causes de la sinistralité d’un régime de prévoyance</a:t>
            </a:r>
          </a:p>
          <a:p>
            <a:pPr lvl="2"/>
            <a:endParaRPr lang="fr-FR" sz="1800" dirty="0"/>
          </a:p>
          <a:p>
            <a:pPr lvl="2"/>
            <a:r>
              <a:rPr lang="fr-FR" sz="1800" dirty="0"/>
              <a:t>Une réflexion commune nous permettra d’engager dans un second temps d’éventuelles démarches de prévention afin de maitriser cette sinistralité</a:t>
            </a:r>
          </a:p>
          <a:p>
            <a:pPr lvl="2"/>
            <a:endParaRPr lang="fr-FR" sz="1800" dirty="0"/>
          </a:p>
          <a:p>
            <a:pPr lvl="2"/>
            <a:r>
              <a:rPr lang="fr-FR" sz="1800" dirty="0"/>
              <a:t>Le but </a:t>
            </a:r>
            <a:r>
              <a:rPr lang="fr-FR" sz="1800"/>
              <a:t>étant de </a:t>
            </a:r>
            <a:r>
              <a:rPr lang="fr-FR" sz="1800" dirty="0"/>
              <a:t>trouver les bonnes mesures (organismes de prévention) permettant de favoriser le bien être de vos salariés </a:t>
            </a:r>
            <a:endParaRPr lang="fr-FR" sz="1600" dirty="0"/>
          </a:p>
          <a:p>
            <a:pPr lvl="2"/>
            <a:endParaRPr lang="fr-FR" sz="1800" dirty="0"/>
          </a:p>
          <a:p>
            <a:pPr lvl="3"/>
            <a:endParaRPr lang="fr-FR" sz="1600" dirty="0"/>
          </a:p>
          <a:p>
            <a:pPr lvl="3"/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4940627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4619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ologie</a:t>
            </a:r>
            <a:br>
              <a:rPr lang="fr-FR" dirty="0"/>
            </a:br>
            <a:r>
              <a:rPr lang="fr-FR" sz="1600" dirty="0"/>
              <a:t>Les </a:t>
            </a:r>
            <a:r>
              <a:rPr lang="fr-FR" sz="1600" dirty="0">
                <a:solidFill>
                  <a:schemeClr val="accent1">
                    <a:lumMod val="75000"/>
                  </a:schemeClr>
                </a:solidFill>
              </a:rPr>
              <a:t>indicateurs</a:t>
            </a: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395536" y="5157192"/>
            <a:ext cx="8352928" cy="864096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350"/>
              </a:spcAft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ts val="35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rtl="0" eaLnBrk="1" fontAlgn="base" hangingPunct="1">
              <a:spcBef>
                <a:spcPct val="0"/>
              </a:spcBef>
              <a:spcAft>
                <a:spcPts val="350"/>
              </a:spcAft>
              <a:buClr>
                <a:srgbClr val="70208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63666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025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000000"/>
              </a:buClr>
              <a:buFont typeface="Arial" pitchFamily="34" charset="0"/>
              <a:buChar char="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584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fr-FR" sz="1800" dirty="0"/>
              <a:t>Tous ces indicateurs portent sur les arrêts de 4 jours et plus</a:t>
            </a:r>
          </a:p>
          <a:p>
            <a:pPr lvl="2"/>
            <a:endParaRPr lang="fr-FR" sz="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2"/>
            <a:r>
              <a:rPr lang="fr-FR" sz="1800" dirty="0"/>
              <a:t>Leur évolution est suivie sur 4 ans</a:t>
            </a:r>
          </a:p>
        </p:txBody>
      </p:sp>
      <p:graphicFrame>
        <p:nvGraphicFramePr>
          <p:cNvPr id="4" name="Espace réservé du contenu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5024005"/>
              </p:ext>
            </p:extLst>
          </p:nvPr>
        </p:nvGraphicFramePr>
        <p:xfrm>
          <a:off x="457200" y="1225912"/>
          <a:ext cx="8229600" cy="357124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20265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26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fr-FR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éfini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Rôl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Nombre de jours d’arrê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Volume</a:t>
                      </a:r>
                      <a:r>
                        <a:rPr lang="fr-FR" sz="1200" baseline="0" dirty="0"/>
                        <a:t> total des jours d’arrêts sur l’anné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Prise de conscience des volum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Identification des « masses » </a:t>
                      </a:r>
                      <a:r>
                        <a:rPr lang="fr-FR" sz="1200" dirty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fr-FR" sz="1200" dirty="0"/>
                        <a:t> focaliser l’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Taux d’absentéis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Part des jours de l’année passés en arrêt de travail sur toute la popul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Pilotage global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Comparaison à la concurr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Préval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Part des salariés</a:t>
                      </a:r>
                      <a:r>
                        <a:rPr lang="fr-FR" sz="1200" baseline="0" dirty="0"/>
                        <a:t> ayant eu au moins un arrêt dans l’anné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Indicateur </a:t>
                      </a:r>
                      <a:r>
                        <a:rPr lang="fr-FR" sz="1200" baseline="0" dirty="0"/>
                        <a:t>du contexte socio-économique d’une entreprise et des risques psychosociaux</a:t>
                      </a:r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Fréqu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Nombre moyen d’arrêts par salarié dans l’anné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Analyse </a:t>
                      </a:r>
                      <a:r>
                        <a:rPr lang="fr-FR" sz="1200" baseline="0" dirty="0"/>
                        <a:t>et comparaison des populations entre ell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baseline="0" dirty="0"/>
                        <a:t>Analyse et comparaison des arrêts par durée</a:t>
                      </a:r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Durée moyenne annue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Nombre moyen de jours d’arrêt dans l’année pour un salarié arrêté au moins une fo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Indicateur</a:t>
                      </a:r>
                      <a:r>
                        <a:rPr lang="fr-FR" sz="1200" baseline="0" dirty="0"/>
                        <a:t> </a:t>
                      </a:r>
                      <a:r>
                        <a:rPr lang="fr-FR" sz="1200" dirty="0"/>
                        <a:t>notamment de la santé des salariés et du rôle de l’â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4923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4" name="Rectangle 3"/>
          <p:cNvSpPr/>
          <p:nvPr/>
        </p:nvSpPr>
        <p:spPr>
          <a:xfrm>
            <a:off x="827584" y="1844824"/>
            <a:ext cx="741682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Étude pour le Groupe ASSYSTEM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fr-FR" dirty="0"/>
              <a:t>État des lieux de l’année 2015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fr-FR" dirty="0"/>
              <a:t>Évolution des données sur 4 années</a:t>
            </a:r>
          </a:p>
          <a:p>
            <a:endParaRPr lang="fr-FR" dirty="0"/>
          </a:p>
          <a:p>
            <a:r>
              <a:rPr lang="fr-FR" dirty="0"/>
              <a:t>Évolution du taux d’absentéisme par établissement</a:t>
            </a:r>
          </a:p>
          <a:p>
            <a:endParaRPr lang="fr-FR" dirty="0"/>
          </a:p>
          <a:p>
            <a:r>
              <a:rPr lang="fr-FR" dirty="0"/>
              <a:t>Zoom - ASSYSTEM France et régions</a:t>
            </a:r>
          </a:p>
          <a:p>
            <a:endParaRPr lang="fr-FR" dirty="0"/>
          </a:p>
          <a:p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8243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présentations graphiques</a:t>
            </a:r>
            <a:br>
              <a:rPr lang="fr-FR" dirty="0"/>
            </a:br>
            <a:r>
              <a:rPr lang="fr-FR" dirty="0"/>
              <a:t>des résultats de l’étude</a:t>
            </a:r>
            <a:br>
              <a:rPr lang="fr-FR" dirty="0"/>
            </a:br>
            <a:br>
              <a:rPr lang="fr-FR" dirty="0"/>
            </a:br>
            <a:r>
              <a:rPr lang="fr-FR" dirty="0" err="1"/>
              <a:t>Etat</a:t>
            </a:r>
            <a:r>
              <a:rPr lang="fr-FR" dirty="0"/>
              <a:t> des lieux de l’année 2015</a:t>
            </a:r>
          </a:p>
        </p:txBody>
      </p:sp>
    </p:spTree>
    <p:extLst>
      <p:ext uri="{BB962C8B-B14F-4D97-AF65-F5344CB8AC3E}">
        <p14:creationId xmlns:p14="http://schemas.microsoft.com/office/powerpoint/2010/main" val="2384797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332962" y="1844824"/>
            <a:ext cx="8470128" cy="3744416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51519" y="1166440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observons un niveau d’absentéisme supérieur à celui du secteur de la Technologie de l'information et de l’entreprise pris en compte dans le Benchmark 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1519" y="5874979"/>
            <a:ext cx="8633015" cy="30353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Ce niveau d’absentéisme est toutefois moins important que celui des données Gras Savoye</a:t>
            </a:r>
          </a:p>
        </p:txBody>
      </p:sp>
    </p:spTree>
    <p:extLst>
      <p:ext uri="{BB962C8B-B14F-4D97-AF65-F5344CB8AC3E}">
        <p14:creationId xmlns:p14="http://schemas.microsoft.com/office/powerpoint/2010/main" val="2534943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pic>
        <p:nvPicPr>
          <p:cNvPr id="9" name="Image 8"/>
          <p:cNvPicPr/>
          <p:nvPr/>
        </p:nvPicPr>
        <p:blipFill>
          <a:blip r:embed="rId2"/>
          <a:stretch>
            <a:fillRect/>
          </a:stretch>
        </p:blipFill>
        <p:spPr>
          <a:xfrm>
            <a:off x="323528" y="2286156"/>
            <a:ext cx="8408600" cy="3015052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Nombre de jours d’arrêts par durée d’absenc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251519" y="1556792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pouvons noter que pour cet indicateur les niveaux pour votre Groupe sont proches de ceux du portefeuille Gras Savoye excepté pour les arrêts de plus de 30 mois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1520" y="5558928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a comparaison avec le secteur d’activité et l’entreprise met en exergue un niveau pour le Groupe </a:t>
            </a:r>
            <a:r>
              <a:rPr lang="fr-FR" sz="1500" b="1" i="1" dirty="0" err="1">
                <a:solidFill>
                  <a:schemeClr val="accent2">
                    <a:lumMod val="75000"/>
                  </a:schemeClr>
                </a:solidFill>
              </a:rPr>
              <a:t>Assystem</a:t>
            </a:r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 inférieur pour les arrêts inférieur à 6 mois</a:t>
            </a:r>
          </a:p>
        </p:txBody>
      </p:sp>
    </p:spTree>
    <p:extLst>
      <p:ext uri="{BB962C8B-B14F-4D97-AF65-F5344CB8AC3E}">
        <p14:creationId xmlns:p14="http://schemas.microsoft.com/office/powerpoint/2010/main" val="270749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caus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255492" y="5198888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Eu égard aux niveaux globaux d’absentéisme différents la répartition par cause est proche entre les différents benchmark comparés</a:t>
            </a:r>
          </a:p>
        </p:txBody>
      </p:sp>
      <p:pic>
        <p:nvPicPr>
          <p:cNvPr id="4" name="Image 3"/>
          <p:cNvPicPr/>
          <p:nvPr/>
        </p:nvPicPr>
        <p:blipFill>
          <a:blip r:embed="rId2"/>
          <a:stretch>
            <a:fillRect/>
          </a:stretch>
        </p:blipFill>
        <p:spPr>
          <a:xfrm>
            <a:off x="305376" y="1556792"/>
            <a:ext cx="8294598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939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sex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323527" y="5414912"/>
            <a:ext cx="849694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pouvons observer dans votre Groupe comme dans les autres benchmark un taux d’absentéisme supérieur chez les femmes</a:t>
            </a:r>
          </a:p>
        </p:txBody>
      </p:sp>
      <p:pic>
        <p:nvPicPr>
          <p:cNvPr id="22" name="Image 21"/>
          <p:cNvPicPr/>
          <p:nvPr/>
        </p:nvPicPr>
        <p:blipFill>
          <a:blip r:embed="rId2"/>
          <a:stretch>
            <a:fillRect/>
          </a:stretch>
        </p:blipFill>
        <p:spPr>
          <a:xfrm>
            <a:off x="683568" y="1664040"/>
            <a:ext cx="7848872" cy="353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01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WWFKB4Jkiq3BHMXK8b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WWFKB4Jkiq3BHMXK8bgw"/>
</p:tagLst>
</file>

<file path=ppt/theme/theme1.xml><?xml version="1.0" encoding="utf-8"?>
<a:theme xmlns:a="http://schemas.openxmlformats.org/drawingml/2006/main" name="1_Default Theme">
  <a:themeElements>
    <a:clrScheme name="ADP Corporate Life">
      <a:dk1>
        <a:srgbClr val="003B79"/>
      </a:dk1>
      <a:lt1>
        <a:srgbClr val="FFFFFF"/>
      </a:lt1>
      <a:dk2>
        <a:srgbClr val="4F81BD"/>
      </a:dk2>
      <a:lt2>
        <a:srgbClr val="DDD9C3"/>
      </a:lt2>
      <a:accent1>
        <a:srgbClr val="FBBD1A"/>
      </a:accent1>
      <a:accent2>
        <a:srgbClr val="92D050"/>
      </a:accent2>
      <a:accent3>
        <a:srgbClr val="31859B"/>
      </a:accent3>
      <a:accent4>
        <a:srgbClr val="3366CC"/>
      </a:accent4>
      <a:accent5>
        <a:srgbClr val="CC3300"/>
      </a:accent5>
      <a:accent6>
        <a:srgbClr val="DDD9C3"/>
      </a:accent6>
      <a:hlink>
        <a:srgbClr val="4F6128"/>
      </a:hlink>
      <a:folHlink>
        <a:srgbClr val="C0504D"/>
      </a:folHlink>
    </a:clrScheme>
    <a:fontScheme name="ADP Corporate Lif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WillisTW">
  <a:themeElements>
    <a:clrScheme name="WTW Theme">
      <a:dk1>
        <a:sysClr val="windowText" lastClr="000000"/>
      </a:dk1>
      <a:lt1>
        <a:sysClr val="window" lastClr="FFFFFF"/>
      </a:lt1>
      <a:dk2>
        <a:srgbClr val="63666A"/>
      </a:dk2>
      <a:lt2>
        <a:srgbClr val="EEECE1"/>
      </a:lt2>
      <a:accent1>
        <a:srgbClr val="702082"/>
      </a:accent1>
      <a:accent2>
        <a:srgbClr val="FFB81C"/>
      </a:accent2>
      <a:accent3>
        <a:srgbClr val="00A0D2"/>
      </a:accent3>
      <a:accent4>
        <a:srgbClr val="C110A0"/>
      </a:accent4>
      <a:accent5>
        <a:srgbClr val="00C389"/>
      </a:accent5>
      <a:accent6>
        <a:srgbClr val="63666A"/>
      </a:accent6>
      <a:hlink>
        <a:srgbClr val="00A0D2"/>
      </a:hlink>
      <a:folHlink>
        <a:srgbClr val="63666A"/>
      </a:folHlink>
    </a:clrScheme>
    <a:fontScheme name="Willis Towers Wats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WTW Light Gray">
      <a:srgbClr val="D8DBD8"/>
    </a:custClr>
    <a:custClr name="WTW Light Violet">
      <a:srgbClr val="D8D7DF"/>
    </a:custClr>
    <a:custClr name="WTW Pink">
      <a:srgbClr val="DDD0CF"/>
    </a:custClr>
    <a:custClr name="WTW Light Blue">
      <a:srgbClr val="C8D7DF"/>
    </a:custClr>
    <a:custClr name="WTW Light Green">
      <a:srgbClr val="D9E6DC"/>
    </a:custClr>
    <a:custClr name="WTW Light Sand">
      <a:srgbClr val="EFEEDE"/>
    </a:custClr>
  </a:custClrLst>
  <a:extLst>
    <a:ext uri="{05A4C25C-085E-4340-85A3-A5531E510DB2}">
      <thm15:themeFamily xmlns:thm15="http://schemas.microsoft.com/office/thememl/2012/main" name="wtw_ppt_template.potx [Read-Only]" id="{2E9A3C82-FE51-4B47-9AF0-9AF4295EA8B4}" vid="{4AEB970F-2BED-462B-BAD1-D468C9E10991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93</Words>
  <Application>Microsoft Office PowerPoint</Application>
  <PresentationFormat>Affichage à l'écran (4:3)</PresentationFormat>
  <Paragraphs>103</Paragraphs>
  <Slides>26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26</vt:i4>
      </vt:variant>
    </vt:vector>
  </HeadingPairs>
  <TitlesOfParts>
    <vt:vector size="33" baseType="lpstr">
      <vt:lpstr>Arial</vt:lpstr>
      <vt:lpstr>Calibri</vt:lpstr>
      <vt:lpstr>Candara</vt:lpstr>
      <vt:lpstr>Segoe Print</vt:lpstr>
      <vt:lpstr>Wingdings</vt:lpstr>
      <vt:lpstr>1_Default Theme</vt:lpstr>
      <vt:lpstr>ThèmeWillisTW</vt:lpstr>
      <vt:lpstr>Présentation PowerPoint</vt:lpstr>
      <vt:lpstr>Méthodologie</vt:lpstr>
      <vt:lpstr>Méthodologie Les indicateurs</vt:lpstr>
      <vt:lpstr>SOMMAIRE</vt:lpstr>
      <vt:lpstr>Représentations graphiques des résultats de l’étude  Etat des lieux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Représentations graphiques des résultats de l’étude  Evolution des données sur 4 années</vt:lpstr>
      <vt:lpstr>Etat des lieux global Evolution sur 4 années</vt:lpstr>
      <vt:lpstr>Etat des lieux global Evolution sur 4 années</vt:lpstr>
      <vt:lpstr>Etat des lieux global Evolution sur 4 années</vt:lpstr>
      <vt:lpstr>Evolution du taux d’absentéisme par établissement  </vt:lpstr>
      <vt:lpstr>Taux d’absentéisme par établissement Evolution sur 4 années</vt:lpstr>
      <vt:lpstr>Taux d’absentéisme par établissement Répartition des effectifs et jours d’absence</vt:lpstr>
      <vt:lpstr>Zoom - ASSYSTEM France et régions  </vt:lpstr>
      <vt:lpstr>ASSYSTEM France et régions Evolution du taux d’absentéisme par tranche d’âge</vt:lpstr>
      <vt:lpstr>ASSYSTEM France et régions Evolution du taux d’absentéisme par sexe</vt:lpstr>
      <vt:lpstr>ASSYSTEM France et régions Evolution du taux d’absentéisme par collège</vt:lpstr>
      <vt:lpstr>Conclusions  </vt:lpstr>
      <vt:lpstr>Conclusions</vt:lpstr>
      <vt:lpstr>Présentation PowerPoint</vt:lpstr>
    </vt:vector>
  </TitlesOfParts>
  <Company>SV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Utilisateur Windows</dc:creator>
  <cp:lastModifiedBy>DATSI Khalil</cp:lastModifiedBy>
  <cp:revision>599</cp:revision>
  <cp:lastPrinted>2017-02-24T19:21:06Z</cp:lastPrinted>
  <dcterms:created xsi:type="dcterms:W3CDTF">2014-02-12T08:48:00Z</dcterms:created>
  <dcterms:modified xsi:type="dcterms:W3CDTF">2022-08-30T21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971560146</vt:i4>
  </property>
  <property fmtid="{D5CDD505-2E9C-101B-9397-08002B2CF9AE}" pid="3" name="_NewReviewCycle">
    <vt:lpwstr/>
  </property>
  <property fmtid="{D5CDD505-2E9C-101B-9397-08002B2CF9AE}" pid="4" name="_EmailSubject">
    <vt:lpwstr>absenteisme assystem</vt:lpwstr>
  </property>
  <property fmtid="{D5CDD505-2E9C-101B-9397-08002B2CF9AE}" pid="5" name="_AuthorEmail">
    <vt:lpwstr>Wahid.BSAIRI@Generali.com</vt:lpwstr>
  </property>
  <property fmtid="{D5CDD505-2E9C-101B-9397-08002B2CF9AE}" pid="6" name="_AuthorEmailDisplayName">
    <vt:lpwstr>BSAIRI Wahid</vt:lpwstr>
  </property>
</Properties>
</file>